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5" r:id="rId3"/>
    <p:sldMasterId id="2147483744" r:id="rId4"/>
    <p:sldMasterId id="2147483761" r:id="rId5"/>
  </p:sldMasterIdLst>
  <p:notesMasterIdLst>
    <p:notesMasterId r:id="rId18"/>
  </p:notesMasterIdLst>
  <p:sldIdLst>
    <p:sldId id="2147483642" r:id="rId6"/>
    <p:sldId id="274" r:id="rId7"/>
    <p:sldId id="271" r:id="rId8"/>
    <p:sldId id="297" r:id="rId9"/>
    <p:sldId id="309" r:id="rId10"/>
    <p:sldId id="360" r:id="rId11"/>
    <p:sldId id="259" r:id="rId12"/>
    <p:sldId id="261" r:id="rId13"/>
    <p:sldId id="257" r:id="rId14"/>
    <p:sldId id="260" r:id="rId15"/>
    <p:sldId id="258" r:id="rId16"/>
    <p:sldId id="28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Landscape" id="{B6650802-5BB7-402B-B4F9-4BD1A79200C4}">
          <p14:sldIdLst>
            <p14:sldId id="2147483642"/>
            <p14:sldId id="274"/>
            <p14:sldId id="271"/>
            <p14:sldId id="297"/>
            <p14:sldId id="309"/>
            <p14:sldId id="360"/>
          </p14:sldIdLst>
        </p14:section>
        <p14:section name="SES" id="{C765D43D-8A2E-40A6-A2A7-7962709656B0}">
          <p14:sldIdLst>
            <p14:sldId id="259"/>
            <p14:sldId id="261"/>
            <p14:sldId id="257"/>
            <p14:sldId id="260"/>
            <p14:sldId id="258"/>
          </p14:sldIdLst>
        </p14:section>
        <p14:section name="Thank you" id="{0AFDA7C0-F8AC-1448-9405-93321ACF81DE}">
          <p14:sldIdLst>
            <p14:sldId id="28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iswold, Haidee" initials="GH" lastIdx="3" clrIdx="0">
    <p:extLst>
      <p:ext uri="{19B8F6BF-5375-455C-9EA6-DF929625EA0E}">
        <p15:presenceInfo xmlns:p15="http://schemas.microsoft.com/office/powerpoint/2012/main" userId="S-1-5-21-1407069837-2091007605-538272213-232605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4FA"/>
    <a:srgbClr val="6407B2"/>
    <a:srgbClr val="161E2D"/>
    <a:srgbClr val="9929AB"/>
    <a:srgbClr val="FF7951"/>
    <a:srgbClr val="FA4DC8"/>
    <a:srgbClr val="F741D9"/>
    <a:srgbClr val="FE5A85"/>
    <a:srgbClr val="FE5A90"/>
    <a:srgbClr val="FE59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2B4FC3-91C8-4F0A-9D7D-75AE679D58F5}" v="66" dt="2026-03-12T02:39:23.1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36" autoAdjust="0"/>
    <p:restoredTop sz="85871" autoAdjust="0"/>
  </p:normalViewPr>
  <p:slideViewPr>
    <p:cSldViewPr snapToGrid="0">
      <p:cViewPr varScale="1">
        <p:scale>
          <a:sx n="136" d="100"/>
          <a:sy n="136" d="100"/>
        </p:scale>
        <p:origin x="216" y="53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 Campbell" userId="8e68baf6c3ee0698" providerId="LiveId" clId="{47E87A26-B411-4CC9-9B91-FDB6DAA21206}"/>
    <pc:docChg chg="undo custSel addSld delSld modSld modSection">
      <pc:chgData name="Alan Campbell" userId="8e68baf6c3ee0698" providerId="LiveId" clId="{47E87A26-B411-4CC9-9B91-FDB6DAA21206}" dt="2026-03-12T02:39:23.198" v="668"/>
      <pc:docMkLst>
        <pc:docMk/>
      </pc:docMkLst>
      <pc:sldChg chg="del">
        <pc:chgData name="Alan Campbell" userId="8e68baf6c3ee0698" providerId="LiveId" clId="{47E87A26-B411-4CC9-9B91-FDB6DAA21206}" dt="2026-03-12T01:50:52.814" v="178" actId="47"/>
        <pc:sldMkLst>
          <pc:docMk/>
          <pc:sldMk cId="2738960542" sldId="256"/>
        </pc:sldMkLst>
      </pc:sldChg>
      <pc:sldChg chg="addSp modSp mod modClrScheme modAnim chgLayout">
        <pc:chgData name="Alan Campbell" userId="8e68baf6c3ee0698" providerId="LiveId" clId="{47E87A26-B411-4CC9-9B91-FDB6DAA21206}" dt="2026-03-12T02:19:03.632" v="319"/>
        <pc:sldMkLst>
          <pc:docMk/>
          <pc:sldMk cId="2519256068" sldId="257"/>
        </pc:sldMkLst>
        <pc:spChg chg="add mod">
          <ac:chgData name="Alan Campbell" userId="8e68baf6c3ee0698" providerId="LiveId" clId="{47E87A26-B411-4CC9-9B91-FDB6DAA21206}" dt="2026-03-12T01:59:16.040" v="300" actId="14100"/>
          <ac:spMkLst>
            <pc:docMk/>
            <pc:sldMk cId="2519256068" sldId="257"/>
            <ac:spMk id="2" creationId="{49936BAA-A96A-C741-C4FE-12BF30E090E3}"/>
          </ac:spMkLst>
        </pc:spChg>
        <pc:spChg chg="mod ord">
          <ac:chgData name="Alan Campbell" userId="8e68baf6c3ee0698" providerId="LiveId" clId="{47E87A26-B411-4CC9-9B91-FDB6DAA21206}" dt="2026-03-12T01:52:11.782" v="181" actId="700"/>
          <ac:spMkLst>
            <pc:docMk/>
            <pc:sldMk cId="2519256068" sldId="257"/>
            <ac:spMk id="3" creationId="{0CAC953B-B865-2710-87D7-3A2C908D9D59}"/>
          </ac:spMkLst>
        </pc:spChg>
        <pc:spChg chg="mod ord">
          <ac:chgData name="Alan Campbell" userId="8e68baf6c3ee0698" providerId="LiveId" clId="{47E87A26-B411-4CC9-9B91-FDB6DAA21206}" dt="2026-03-12T01:57:10.535" v="252" actId="20577"/>
          <ac:spMkLst>
            <pc:docMk/>
            <pc:sldMk cId="2519256068" sldId="257"/>
            <ac:spMk id="4" creationId="{3D24C02C-02EA-E19B-B736-1227EBCB8D65}"/>
          </ac:spMkLst>
        </pc:spChg>
        <pc:picChg chg="mod">
          <ac:chgData name="Alan Campbell" userId="8e68baf6c3ee0698" providerId="LiveId" clId="{47E87A26-B411-4CC9-9B91-FDB6DAA21206}" dt="2026-03-12T01:56:08.540" v="213" actId="14100"/>
          <ac:picMkLst>
            <pc:docMk/>
            <pc:sldMk cId="2519256068" sldId="257"/>
            <ac:picMk id="5" creationId="{412E3DD3-C2CE-7120-DF4D-84EC00C47781}"/>
          </ac:picMkLst>
        </pc:picChg>
        <pc:picChg chg="add mod">
          <ac:chgData name="Alan Campbell" userId="8e68baf6c3ee0698" providerId="LiveId" clId="{47E87A26-B411-4CC9-9B91-FDB6DAA21206}" dt="2026-03-12T01:59:16.040" v="300" actId="14100"/>
          <ac:picMkLst>
            <pc:docMk/>
            <pc:sldMk cId="2519256068" sldId="257"/>
            <ac:picMk id="1026" creationId="{AC0EAC46-1FAE-DF8A-E7CF-199F87C68252}"/>
          </ac:picMkLst>
        </pc:picChg>
        <pc:picChg chg="add mod">
          <ac:chgData name="Alan Campbell" userId="8e68baf6c3ee0698" providerId="LiveId" clId="{47E87A26-B411-4CC9-9B91-FDB6DAA21206}" dt="2026-03-12T01:59:38.851" v="303" actId="1076"/>
          <ac:picMkLst>
            <pc:docMk/>
            <pc:sldMk cId="2519256068" sldId="257"/>
            <ac:picMk id="1028" creationId="{0431640F-E623-E185-AF3D-2205518E4D56}"/>
          </ac:picMkLst>
        </pc:picChg>
        <pc:picChg chg="mod">
          <ac:chgData name="Alan Campbell" userId="8e68baf6c3ee0698" providerId="LiveId" clId="{47E87A26-B411-4CC9-9B91-FDB6DAA21206}" dt="2026-03-12T01:59:45.136" v="304" actId="1076"/>
          <ac:picMkLst>
            <pc:docMk/>
            <pc:sldMk cId="2519256068" sldId="257"/>
            <ac:picMk id="2050" creationId="{0D456A07-A154-8D09-9887-843D00915E12}"/>
          </ac:picMkLst>
        </pc:picChg>
        <pc:picChg chg="mod">
          <ac:chgData name="Alan Campbell" userId="8e68baf6c3ee0698" providerId="LiveId" clId="{47E87A26-B411-4CC9-9B91-FDB6DAA21206}" dt="2026-03-12T01:59:53.753" v="305" actId="1076"/>
          <ac:picMkLst>
            <pc:docMk/>
            <pc:sldMk cId="2519256068" sldId="257"/>
            <ac:picMk id="2052" creationId="{A8E2AAB6-3265-8712-DDB2-33CD6A689FA5}"/>
          </ac:picMkLst>
        </pc:picChg>
        <pc:picChg chg="mod">
          <ac:chgData name="Alan Campbell" userId="8e68baf6c3ee0698" providerId="LiveId" clId="{47E87A26-B411-4CC9-9B91-FDB6DAA21206}" dt="2026-03-12T01:59:58.405" v="306" actId="1076"/>
          <ac:picMkLst>
            <pc:docMk/>
            <pc:sldMk cId="2519256068" sldId="257"/>
            <ac:picMk id="2054" creationId="{1E7A2B4C-7383-2F74-7A0F-49E5D08D5187}"/>
          </ac:picMkLst>
        </pc:picChg>
      </pc:sldChg>
      <pc:sldChg chg="addSp delSp modSp mod modClrScheme modAnim chgLayout">
        <pc:chgData name="Alan Campbell" userId="8e68baf6c3ee0698" providerId="LiveId" clId="{47E87A26-B411-4CC9-9B91-FDB6DAA21206}" dt="2026-03-12T02:33:16.064" v="663"/>
        <pc:sldMkLst>
          <pc:docMk/>
          <pc:sldMk cId="1248094435" sldId="258"/>
        </pc:sldMkLst>
        <pc:spChg chg="add mod ord">
          <ac:chgData name="Alan Campbell" userId="8e68baf6c3ee0698" providerId="LiveId" clId="{47E87A26-B411-4CC9-9B91-FDB6DAA21206}" dt="2026-03-12T02:25:21.153" v="421" actId="20577"/>
          <ac:spMkLst>
            <pc:docMk/>
            <pc:sldMk cId="1248094435" sldId="258"/>
            <ac:spMk id="2" creationId="{CBBD5DDC-02D6-E787-D30C-EBF828A2711D}"/>
          </ac:spMkLst>
        </pc:spChg>
        <pc:spChg chg="mod ord">
          <ac:chgData name="Alan Campbell" userId="8e68baf6c3ee0698" providerId="LiveId" clId="{47E87A26-B411-4CC9-9B91-FDB6DAA21206}" dt="2026-03-12T02:25:50.430" v="429" actId="20577"/>
          <ac:spMkLst>
            <pc:docMk/>
            <pc:sldMk cId="1248094435" sldId="258"/>
            <ac:spMk id="3" creationId="{489339D8-5769-DA49-8F0A-8893C243B2F4}"/>
          </ac:spMkLst>
        </pc:spChg>
        <pc:spChg chg="mod ord">
          <ac:chgData name="Alan Campbell" userId="8e68baf6c3ee0698" providerId="LiveId" clId="{47E87A26-B411-4CC9-9B91-FDB6DAA21206}" dt="2026-03-12T02:30:33.774" v="662" actId="20577"/>
          <ac:spMkLst>
            <pc:docMk/>
            <pc:sldMk cId="1248094435" sldId="258"/>
            <ac:spMk id="4" creationId="{20D5C54C-9E23-EFA4-5D28-1A17BD1D19E7}"/>
          </ac:spMkLst>
        </pc:spChg>
        <pc:spChg chg="del">
          <ac:chgData name="Alan Campbell" userId="8e68baf6c3ee0698" providerId="LiveId" clId="{47E87A26-B411-4CC9-9B91-FDB6DAA21206}" dt="2026-03-12T02:20:36.744" v="320" actId="700"/>
          <ac:spMkLst>
            <pc:docMk/>
            <pc:sldMk cId="1248094435" sldId="258"/>
            <ac:spMk id="5" creationId="{A5247B9F-5751-18A9-41F5-02E293527CF8}"/>
          </ac:spMkLst>
        </pc:spChg>
      </pc:sldChg>
      <pc:sldChg chg="addSp modSp add mod modAnim">
        <pc:chgData name="Alan Campbell" userId="8e68baf6c3ee0698" providerId="LiveId" clId="{47E87A26-B411-4CC9-9B91-FDB6DAA21206}" dt="2026-03-12T02:39:23.198" v="668"/>
        <pc:sldMkLst>
          <pc:docMk/>
          <pc:sldMk cId="3925215975" sldId="259"/>
        </pc:sldMkLst>
        <pc:spChg chg="mod">
          <ac:chgData name="Alan Campbell" userId="8e68baf6c3ee0698" providerId="LiveId" clId="{47E87A26-B411-4CC9-9B91-FDB6DAA21206}" dt="2026-03-12T01:33:29.304" v="16" actId="1035"/>
          <ac:spMkLst>
            <pc:docMk/>
            <pc:sldMk cId="3925215975" sldId="259"/>
            <ac:spMk id="2" creationId="{BF76A614-11F8-66FC-754B-A343C5056DCA}"/>
          </ac:spMkLst>
        </pc:spChg>
        <pc:spChg chg="add mod">
          <ac:chgData name="Alan Campbell" userId="8e68baf6c3ee0698" providerId="LiveId" clId="{47E87A26-B411-4CC9-9B91-FDB6DAA21206}" dt="2026-03-12T01:34:15.678" v="75" actId="14100"/>
          <ac:spMkLst>
            <pc:docMk/>
            <pc:sldMk cId="3925215975" sldId="259"/>
            <ac:spMk id="3" creationId="{ACED1E93-8FEF-E609-6B28-AE840A03A22A}"/>
          </ac:spMkLst>
        </pc:spChg>
        <pc:spChg chg="mod">
          <ac:chgData name="Alan Campbell" userId="8e68baf6c3ee0698" providerId="LiveId" clId="{47E87A26-B411-4CC9-9B91-FDB6DAA21206}" dt="2026-03-12T01:33:33.133" v="17" actId="1076"/>
          <ac:spMkLst>
            <pc:docMk/>
            <pc:sldMk cId="3925215975" sldId="259"/>
            <ac:spMk id="4" creationId="{64C674A4-1273-5ABD-1C6E-53D261DEBF2B}"/>
          </ac:spMkLst>
        </pc:spChg>
      </pc:sldChg>
      <pc:sldChg chg="addSp modSp mod modClrScheme modAnim chgLayout">
        <pc:chgData name="Alan Campbell" userId="8e68baf6c3ee0698" providerId="LiveId" clId="{47E87A26-B411-4CC9-9B91-FDB6DAA21206}" dt="2026-03-12T02:04:40.677" v="314"/>
        <pc:sldMkLst>
          <pc:docMk/>
          <pc:sldMk cId="3114821332" sldId="260"/>
        </pc:sldMkLst>
        <pc:spChg chg="mod ord">
          <ac:chgData name="Alan Campbell" userId="8e68baf6c3ee0698" providerId="LiveId" clId="{47E87A26-B411-4CC9-9B91-FDB6DAA21206}" dt="2026-03-12T02:01:04.730" v="310" actId="700"/>
          <ac:spMkLst>
            <pc:docMk/>
            <pc:sldMk cId="3114821332" sldId="260"/>
            <ac:spMk id="3" creationId="{AD1F5F23-AA8E-E643-698D-BC0881D71D4C}"/>
          </ac:spMkLst>
        </pc:spChg>
        <pc:spChg chg="add mod ord">
          <ac:chgData name="Alan Campbell" userId="8e68baf6c3ee0698" providerId="LiveId" clId="{47E87A26-B411-4CC9-9B91-FDB6DAA21206}" dt="2026-03-12T02:01:04.730" v="310" actId="700"/>
          <ac:spMkLst>
            <pc:docMk/>
            <pc:sldMk cId="3114821332" sldId="260"/>
            <ac:spMk id="5" creationId="{8A213417-D261-E51F-29FF-CEA491FEFD64}"/>
          </ac:spMkLst>
        </pc:spChg>
        <pc:spChg chg="mod">
          <ac:chgData name="Alan Campbell" userId="8e68baf6c3ee0698" providerId="LiveId" clId="{47E87A26-B411-4CC9-9B91-FDB6DAA21206}" dt="2026-03-12T02:01:18.529" v="311" actId="207"/>
          <ac:spMkLst>
            <pc:docMk/>
            <pc:sldMk cId="3114821332" sldId="260"/>
            <ac:spMk id="12" creationId="{4861507C-B72E-A9BE-F587-9E4FE10FE742}"/>
          </ac:spMkLst>
        </pc:spChg>
        <pc:spChg chg="mod">
          <ac:chgData name="Alan Campbell" userId="8e68baf6c3ee0698" providerId="LiveId" clId="{47E87A26-B411-4CC9-9B91-FDB6DAA21206}" dt="2026-03-12T02:01:18.529" v="311" actId="207"/>
          <ac:spMkLst>
            <pc:docMk/>
            <pc:sldMk cId="3114821332" sldId="260"/>
            <ac:spMk id="14" creationId="{0EF504E3-072D-FD35-A188-04B5CC7F65E4}"/>
          </ac:spMkLst>
        </pc:spChg>
      </pc:sldChg>
      <pc:sldChg chg="addSp modSp add mod modClrScheme modAnim chgLayout">
        <pc:chgData name="Alan Campbell" userId="8e68baf6c3ee0698" providerId="LiveId" clId="{47E87A26-B411-4CC9-9B91-FDB6DAA21206}" dt="2026-03-12T01:49:48.238" v="177"/>
        <pc:sldMkLst>
          <pc:docMk/>
          <pc:sldMk cId="860293309" sldId="261"/>
        </pc:sldMkLst>
        <pc:spChg chg="add mod ord">
          <ac:chgData name="Alan Campbell" userId="8e68baf6c3ee0698" providerId="LiveId" clId="{47E87A26-B411-4CC9-9B91-FDB6DAA21206}" dt="2026-03-12T01:37:01.458" v="143" actId="20577"/>
          <ac:spMkLst>
            <pc:docMk/>
            <pc:sldMk cId="860293309" sldId="261"/>
            <ac:spMk id="2" creationId="{8ACE1D24-CDE1-244A-A186-D14463BB3C24}"/>
          </ac:spMkLst>
        </pc:spChg>
        <pc:spChg chg="mod ord">
          <ac:chgData name="Alan Campbell" userId="8e68baf6c3ee0698" providerId="LiveId" clId="{47E87A26-B411-4CC9-9B91-FDB6DAA21206}" dt="2026-03-12T01:35:23.628" v="77" actId="700"/>
          <ac:spMkLst>
            <pc:docMk/>
            <pc:sldMk cId="860293309" sldId="261"/>
            <ac:spMk id="3" creationId="{F3E472AA-C83C-508F-5BF9-9467331799D4}"/>
          </ac:spMkLst>
        </pc:spChg>
        <pc:spChg chg="mod">
          <ac:chgData name="Alan Campbell" userId="8e68baf6c3ee0698" providerId="LiveId" clId="{47E87A26-B411-4CC9-9B91-FDB6DAA21206}" dt="2026-03-12T01:42:17.494" v="151" actId="6549"/>
          <ac:spMkLst>
            <pc:docMk/>
            <pc:sldMk cId="860293309" sldId="261"/>
            <ac:spMk id="12" creationId="{FDFDDADA-9FD4-39FA-3492-39DBA32C8AD8}"/>
          </ac:spMkLst>
        </pc:spChg>
        <pc:spChg chg="mod">
          <ac:chgData name="Alan Campbell" userId="8e68baf6c3ee0698" providerId="LiveId" clId="{47E87A26-B411-4CC9-9B91-FDB6DAA21206}" dt="2026-03-12T01:44:02.345" v="160" actId="20577"/>
          <ac:spMkLst>
            <pc:docMk/>
            <pc:sldMk cId="860293309" sldId="261"/>
            <ac:spMk id="13" creationId="{7C38333C-6087-57F9-DB85-E25FE34B77EF}"/>
          </ac:spMkLst>
        </pc:spChg>
      </pc:sldChg>
      <pc:sldChg chg="del">
        <pc:chgData name="Alan Campbell" userId="8e68baf6c3ee0698" providerId="LiveId" clId="{47E87A26-B411-4CC9-9B91-FDB6DAA21206}" dt="2026-03-12T01:35:35.605" v="78" actId="47"/>
        <pc:sldMkLst>
          <pc:docMk/>
          <pc:sldMk cId="1416787336" sldId="214748364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81CCA0-6D43-4C8E-A39A-0F5D310BF517}" type="datetimeFigureOut">
              <a:rPr lang="en-US" smtClean="0"/>
              <a:t>3/13/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87D29A-3355-448E-B84B-39C051A3990D}" type="slidenum">
              <a:rPr lang="en-US" smtClean="0"/>
              <a:t>‹#›</a:t>
            </a:fld>
            <a:endParaRPr lang="en-US"/>
          </a:p>
        </p:txBody>
      </p:sp>
    </p:spTree>
    <p:extLst>
      <p:ext uri="{BB962C8B-B14F-4D97-AF65-F5344CB8AC3E}">
        <p14:creationId xmlns:p14="http://schemas.microsoft.com/office/powerpoint/2010/main" val="1938206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FEB175-7AE1-4B66-A823-55E80A74AF1C}" type="slidenum">
              <a:rPr lang="en-US" smtClean="0"/>
              <a:pPr/>
              <a:t>1</a:t>
            </a:fld>
            <a:endParaRPr lang="en-US" dirty="0"/>
          </a:p>
        </p:txBody>
      </p:sp>
    </p:spTree>
    <p:extLst>
      <p:ext uri="{BB962C8B-B14F-4D97-AF65-F5344CB8AC3E}">
        <p14:creationId xmlns:p14="http://schemas.microsoft.com/office/powerpoint/2010/main" val="1706910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buFont typeface="Arial" panose="020B0604020202020204" pitchFamily="34" charset="0"/>
              <a:buChar char="•"/>
            </a:pPr>
            <a:r>
              <a:rPr lang="en-GB" sz="1200" kern="100" dirty="0">
                <a:effectLst/>
                <a:latin typeface="Calibri" panose="020F0502020204030204" pitchFamily="34" charset="0"/>
                <a:ea typeface="Calibri" panose="020F0502020204030204" pitchFamily="34" charset="0"/>
                <a:cs typeface="Times New Roman" panose="02020603050405020304" pitchFamily="18" charset="0"/>
              </a:rPr>
              <a:t>At AWS, we define AI agents as are autonomous software systems that leverage AI to reason, plan, and complete tasks on behalf of humans or systems – like compiling research, paying bills, planning a trip or managing enterprise applications.</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buFont typeface="Arial" panose="020B0604020202020204" pitchFamily="34" charset="0"/>
              <a:buChar char="•"/>
            </a:pPr>
            <a:r>
              <a:rPr lang="en-GB" sz="1200" kern="100" dirty="0">
                <a:effectLst/>
                <a:latin typeface="Calibri" panose="020F0502020204030204" pitchFamily="34" charset="0"/>
                <a:ea typeface="Calibri" panose="020F0502020204030204" pitchFamily="34" charset="0"/>
                <a:cs typeface="Times New Roman" panose="02020603050405020304" pitchFamily="18" charset="0"/>
              </a:rPr>
              <a:t> What makes agents powerful is their ability to think iteratively - to evaluate results, adjust their approach, and continue working toward a goal. They don't just answer questions; they solve problems through a process of exploration and refinement.</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en-US" sz="1200" kern="1200" baseline="0" dirty="0">
              <a:solidFill>
                <a:schemeClr val="tx1"/>
              </a:solidFill>
              <a:effectLst/>
              <a:latin typeface="Arial" panose="020B0604020202020204" pitchFamily="34" charset="0"/>
              <a:ea typeface="Amazon Ember" panose="020B0603020204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000" b="0" i="0" u="none" strike="noStrike" kern="1200" cap="none" spc="0" normalizeH="0" baseline="0" noProof="0" smtClean="0">
                <a:ln>
                  <a:noFill/>
                </a:ln>
                <a:solidFill>
                  <a:srgbClr val="000000"/>
                </a:solidFill>
                <a:effectLst/>
                <a:uLnTx/>
                <a:uFillTx/>
                <a:latin typeface="Amazon Ember Display"/>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000000"/>
              </a:solidFill>
              <a:effectLst/>
              <a:uLnTx/>
              <a:uFillTx/>
              <a:latin typeface="Amazon Ember Display"/>
              <a:ea typeface="+mn-ea"/>
              <a:cs typeface="+mn-cs"/>
            </a:endParaRPr>
          </a:p>
        </p:txBody>
      </p:sp>
    </p:spTree>
    <p:extLst>
      <p:ext uri="{BB962C8B-B14F-4D97-AF65-F5344CB8AC3E}">
        <p14:creationId xmlns:p14="http://schemas.microsoft.com/office/powerpoint/2010/main" val="4139274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D0B1E-5AC1-BC96-81B8-10184AA198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9F409A-A5A6-22AD-CB5B-5F2E8B6AB14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199452E-376E-FC4D-D233-479B9B06B7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We have a mixed audience in this room. I’m not going to go into a drawn-out lesson on the differences between Gen AI and Agentic A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But what I will say is this. They are two complimentary technologies that sit somewhere along the same spectru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But whereas Generative AI is mostly used to generate content… Agentic AI is primarily used to help users achieve their goa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ve been working with AI for over 10 years now and I think this is the most interesting form we’ve ever seen. Not just because of the technology aspect, although that is fascinating, but because of how it radically changes the psychology, and mental paradigms, of how humans interact with computers. </a:t>
            </a:r>
          </a:p>
        </p:txBody>
      </p:sp>
      <p:sp>
        <p:nvSpPr>
          <p:cNvPr id="4" name="Slide Number Placeholder 3">
            <a:extLst>
              <a:ext uri="{FF2B5EF4-FFF2-40B4-BE49-F238E27FC236}">
                <a16:creationId xmlns:a16="http://schemas.microsoft.com/office/drawing/2014/main" id="{B052639E-C778-EAAF-C08D-BB0C7CD23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74223A-E8C3-F14F-ABB5-8739F11A4C0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5368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talk about Agentic AI, or “AI Agents”, we’re talking about applications, or systems, that THROUGH LANGUAGE, can be created, and instructed to perform specific tasks with various levels of problem solving autonomy. </a:t>
            </a:r>
          </a:p>
        </p:txBody>
      </p:sp>
      <p:sp>
        <p:nvSpPr>
          <p:cNvPr id="4" name="Slide Number Placeholder 3"/>
          <p:cNvSpPr>
            <a:spLocks noGrp="1"/>
          </p:cNvSpPr>
          <p:nvPr>
            <p:ph type="sldNum" sz="quarter" idx="5"/>
          </p:nvPr>
        </p:nvSpPr>
        <p:spPr/>
        <p:txBody>
          <a:bodyPr/>
          <a:lstStyle/>
          <a:p>
            <a:fld id="{3B87D29A-3355-448E-B84B-39C051A3990D}" type="slidenum">
              <a:rPr lang="en-US" smtClean="0"/>
              <a:t>4</a:t>
            </a:fld>
            <a:endParaRPr lang="en-US"/>
          </a:p>
        </p:txBody>
      </p:sp>
    </p:spTree>
    <p:extLst>
      <p:ext uri="{BB962C8B-B14F-4D97-AF65-F5344CB8AC3E}">
        <p14:creationId xmlns:p14="http://schemas.microsoft.com/office/powerpoint/2010/main" val="1215579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7D29A-3355-448E-B84B-39C051A3990D}" type="slidenum">
              <a:rPr lang="en-US" smtClean="0"/>
              <a:t>5</a:t>
            </a:fld>
            <a:endParaRPr lang="en-US"/>
          </a:p>
        </p:txBody>
      </p:sp>
    </p:spTree>
    <p:extLst>
      <p:ext uri="{BB962C8B-B14F-4D97-AF65-F5344CB8AC3E}">
        <p14:creationId xmlns:p14="http://schemas.microsoft.com/office/powerpoint/2010/main" val="747246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Agents have reached a critical tipping point in enterprise adoption for several reasons.</a:t>
            </a:r>
          </a:p>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Foundation models are evolving with more advanced reasoning capabilities and a wider range of cost-effective options.</a:t>
            </a:r>
          </a:p>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Organizations have developed robust infrastructure that allows them to securely integrate agentic systems with their proprietary data at scale, ensuring optimal performance, while also maintaining data integrity.</a:t>
            </a:r>
          </a:p>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And the emergence of sophisticated development tools are streamlining the process of building and deploying agentic applications, making them more accessible to businesses of all sizes.</a:t>
            </a:r>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000" b="0" i="0" u="none" strike="noStrike" kern="1200" cap="none" spc="0" normalizeH="0" baseline="0" noProof="0" smtClean="0">
                <a:ln>
                  <a:noFill/>
                </a:ln>
                <a:solidFill>
                  <a:srgbClr val="000000"/>
                </a:solidFill>
                <a:effectLst/>
                <a:uLnTx/>
                <a:uFillTx/>
                <a:latin typeface="Amazon Ember Display"/>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000000"/>
              </a:solidFill>
              <a:effectLst/>
              <a:uLnTx/>
              <a:uFillTx/>
              <a:latin typeface="Amazon Ember Display"/>
              <a:ea typeface="+mn-ea"/>
              <a:cs typeface="+mn-cs"/>
            </a:endParaRPr>
          </a:p>
        </p:txBody>
      </p:sp>
    </p:spTree>
    <p:extLst>
      <p:ext uri="{BB962C8B-B14F-4D97-AF65-F5344CB8AC3E}">
        <p14:creationId xmlns:p14="http://schemas.microsoft.com/office/powerpoint/2010/main" val="3651958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FEB175-7AE1-4B66-A823-55E80A74AF1C}" type="slidenum">
              <a:rPr lang="en-US" smtClean="0"/>
              <a:pPr/>
              <a:t>12</a:t>
            </a:fld>
            <a:endParaRPr lang="en-US" dirty="0"/>
          </a:p>
        </p:txBody>
      </p:sp>
    </p:spTree>
    <p:extLst>
      <p:ext uri="{BB962C8B-B14F-4D97-AF65-F5344CB8AC3E}">
        <p14:creationId xmlns:p14="http://schemas.microsoft.com/office/powerpoint/2010/main" val="2923384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sv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33.svg"/><Relationship Id="rId4" Type="http://schemas.openxmlformats.org/officeDocument/2006/relationships/image" Target="../media/image29.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7.w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5.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46.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D9AB480-D86C-B655-7136-BD90F46F7878}"/>
              </a:ext>
            </a:extLst>
          </p:cNvPr>
          <p:cNvSpPr>
            <a:spLocks noGrp="1"/>
          </p:cNvSpPr>
          <p:nvPr>
            <p:ph type="subTitle" idx="1" hasCustomPrompt="1"/>
          </p:nvPr>
        </p:nvSpPr>
        <p:spPr>
          <a:xfrm>
            <a:off x="426595" y="1870806"/>
            <a:ext cx="8274329" cy="258532"/>
          </a:xfrm>
        </p:spPr>
        <p:txBody>
          <a:bodyPr/>
          <a:lstStyle>
            <a:lvl1pPr marL="0" indent="0" algn="l">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84501CE9-4E0D-C1B6-5434-4BAC2CFF7D49}"/>
              </a:ext>
            </a:extLst>
          </p:cNvPr>
          <p:cNvSpPr>
            <a:spLocks noGrp="1"/>
          </p:cNvSpPr>
          <p:nvPr>
            <p:ph type="title" hasCustomPrompt="1"/>
          </p:nvPr>
        </p:nvSpPr>
        <p:spPr>
          <a:xfrm>
            <a:off x="426595" y="2280380"/>
            <a:ext cx="8274329" cy="1865508"/>
          </a:xfrm>
        </p:spPr>
        <p:txBody>
          <a:bodyPr tIns="146304" bIns="146304"/>
          <a:lstStyle>
            <a:lvl1pPr>
              <a:defRPr sz="4400"/>
            </a:lvl1pPr>
          </a:lstStyle>
          <a:p>
            <a:r>
              <a:rPr lang="en-US"/>
              <a:t>Enter session title</a:t>
            </a:r>
          </a:p>
        </p:txBody>
      </p:sp>
      <p:sp>
        <p:nvSpPr>
          <p:cNvPr id="9" name="Text Placeholder 11">
            <a:extLst>
              <a:ext uri="{FF2B5EF4-FFF2-40B4-BE49-F238E27FC236}">
                <a16:creationId xmlns:a16="http://schemas.microsoft.com/office/drawing/2014/main" id="{E45CCCEF-5F18-2860-DFF6-027276E53732}"/>
              </a:ext>
            </a:extLst>
          </p:cNvPr>
          <p:cNvSpPr>
            <a:spLocks noGrp="1"/>
          </p:cNvSpPr>
          <p:nvPr>
            <p:ph type="body" sz="quarter" idx="10" hasCustomPrompt="1"/>
          </p:nvPr>
        </p:nvSpPr>
        <p:spPr>
          <a:xfrm>
            <a:off x="426595" y="4572926"/>
            <a:ext cx="3702329" cy="369332"/>
          </a:xfrm>
        </p:spPr>
        <p:txBody>
          <a:bodyPr/>
          <a:lstStyle>
            <a:lvl1pPr marL="0" indent="0">
              <a:buNone/>
              <a:defRPr sz="2000" b="1" cap="none" spc="0" baseline="0"/>
            </a:lvl1pPr>
          </a:lstStyle>
          <a:p>
            <a:pPr lvl="0"/>
            <a:r>
              <a:rPr lang="en-US"/>
              <a:t>Speaker name</a:t>
            </a:r>
          </a:p>
        </p:txBody>
      </p:sp>
      <p:sp>
        <p:nvSpPr>
          <p:cNvPr id="10" name="Text Placeholder 13">
            <a:extLst>
              <a:ext uri="{FF2B5EF4-FFF2-40B4-BE49-F238E27FC236}">
                <a16:creationId xmlns:a16="http://schemas.microsoft.com/office/drawing/2014/main" id="{8D448997-2AB6-95F6-CD00-3A71DCD551A0}"/>
              </a:ext>
            </a:extLst>
          </p:cNvPr>
          <p:cNvSpPr>
            <a:spLocks noGrp="1"/>
          </p:cNvSpPr>
          <p:nvPr>
            <p:ph type="body" sz="quarter" idx="12" hasCustomPrompt="1"/>
          </p:nvPr>
        </p:nvSpPr>
        <p:spPr>
          <a:xfrm>
            <a:off x="426595" y="1372973"/>
            <a:ext cx="3492500" cy="258532"/>
          </a:xfrm>
        </p:spPr>
        <p:txBody>
          <a:bodyPr/>
          <a:lstStyle>
            <a:lvl1pPr marL="0" indent="0">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1" name="Text Placeholder 15">
            <a:extLst>
              <a:ext uri="{FF2B5EF4-FFF2-40B4-BE49-F238E27FC236}">
                <a16:creationId xmlns:a16="http://schemas.microsoft.com/office/drawing/2014/main" id="{8E393F6A-4D6C-030B-19DC-39B7D8F86423}"/>
              </a:ext>
            </a:extLst>
          </p:cNvPr>
          <p:cNvSpPr>
            <a:spLocks noGrp="1"/>
          </p:cNvSpPr>
          <p:nvPr>
            <p:ph type="body" sz="quarter" idx="13" hasCustomPrompt="1"/>
          </p:nvPr>
        </p:nvSpPr>
        <p:spPr>
          <a:xfrm>
            <a:off x="426595" y="4946988"/>
            <a:ext cx="3702329" cy="834074"/>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p>
          <a:p>
            <a:pPr lvl="0"/>
            <a:r>
              <a:rPr lang="en-US"/>
              <a:t>Job title</a:t>
            </a:r>
          </a:p>
          <a:p>
            <a:pPr lvl="0"/>
            <a:r>
              <a:rPr lang="en-US"/>
              <a:t>Company</a:t>
            </a:r>
          </a:p>
        </p:txBody>
      </p:sp>
      <p:sp>
        <p:nvSpPr>
          <p:cNvPr id="12" name="Slide Number Placeholder 5">
            <a:extLst>
              <a:ext uri="{FF2B5EF4-FFF2-40B4-BE49-F238E27FC236}">
                <a16:creationId xmlns:a16="http://schemas.microsoft.com/office/drawing/2014/main" id="{D2D7A117-FC7A-651D-49FD-366D450482F3}"/>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Tree>
    <p:extLst>
      <p:ext uri="{BB962C8B-B14F-4D97-AF65-F5344CB8AC3E}">
        <p14:creationId xmlns:p14="http://schemas.microsoft.com/office/powerpoint/2010/main" val="3903064258"/>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4_Title Slide - Defense - Sea">
    <p:bg>
      <p:bgRef idx="1002">
        <a:schemeClr val="bg2"/>
      </p:bgRef>
    </p:bg>
    <p:spTree>
      <p:nvGrpSpPr>
        <p:cNvPr id="1" name=""/>
        <p:cNvGrpSpPr/>
        <p:nvPr/>
      </p:nvGrpSpPr>
      <p:grpSpPr>
        <a:xfrm>
          <a:off x="0" y="0"/>
          <a:ext cx="0" cy="0"/>
          <a:chOff x="0" y="0"/>
          <a:chExt cx="0" cy="0"/>
        </a:xfrm>
      </p:grpSpPr>
      <p:pic>
        <p:nvPicPr>
          <p:cNvPr id="8" name="Picture 15">
            <a:extLst>
              <a:ext uri="{FF2B5EF4-FFF2-40B4-BE49-F238E27FC236}">
                <a16:creationId xmlns:a16="http://schemas.microsoft.com/office/drawing/2014/main" id="{793F1D29-F2FC-2601-44BF-EEA9531F6C27}"/>
              </a:ext>
            </a:extLst>
          </p:cNvPr>
          <p:cNvPicPr>
            <a:picLocks noChangeAspect="1"/>
          </p:cNvPicPr>
          <p:nvPr/>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pic>
        <p:nvPicPr>
          <p:cNvPr id="13" name="Picture 12">
            <a:extLst>
              <a:ext uri="{FF2B5EF4-FFF2-40B4-BE49-F238E27FC236}">
                <a16:creationId xmlns:a16="http://schemas.microsoft.com/office/drawing/2014/main" id="{E53FE81E-C7E5-4DBC-59B7-97AD32E000F6}"/>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6468533" y="0"/>
            <a:ext cx="5723467" cy="5226037"/>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6168297" cy="1809750"/>
          </a:xfrm>
        </p:spPr>
        <p:txBody>
          <a:bodyPr anchor="b"/>
          <a:lstStyle>
            <a:lvl1pPr algn="l">
              <a:lnSpc>
                <a:spcPct val="80000"/>
              </a:lnSpc>
              <a:defRPr sz="6000">
                <a:solidFill>
                  <a:schemeClr val="bg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solidFill>
                  <a:schemeClr val="bg1"/>
                </a:solidFill>
              </a:defRPr>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bg1"/>
                </a:solidFill>
              </a:defRPr>
            </a:lvl1pPr>
            <a:lvl2pPr marL="0" indent="0">
              <a:lnSpc>
                <a:spcPct val="100000"/>
              </a:lnSpc>
              <a:spcBef>
                <a:spcPts val="0"/>
              </a:spcBef>
              <a:tabLst/>
              <a:defRPr sz="1300" b="1">
                <a:solidFill>
                  <a:schemeClr val="bg1"/>
                </a:solidFill>
              </a:defRPr>
            </a:lvl2pPr>
            <a:lvl3pPr marL="0" indent="0">
              <a:spcBef>
                <a:spcPts val="0"/>
              </a:spcBef>
              <a:buNone/>
              <a:defRPr sz="1300" b="1">
                <a:solidFill>
                  <a:schemeClr val="bg1"/>
                </a:solidFill>
              </a:defRPr>
            </a:lvl3pPr>
          </a:lstStyle>
          <a:p>
            <a:pPr lvl="0"/>
            <a:r>
              <a:rPr lang="en-GB" dirty="0"/>
              <a:t>Presented by:</a:t>
            </a:r>
          </a:p>
          <a:p>
            <a:pPr lvl="1"/>
            <a:r>
              <a:rPr lang="en-GB" dirty="0"/>
              <a:t>First Name Last Name</a:t>
            </a:r>
          </a:p>
          <a:p>
            <a:pPr lvl="2"/>
            <a:r>
              <a:rPr lang="en-GB" dirty="0"/>
              <a:t>Job Title</a:t>
            </a:r>
          </a:p>
        </p:txBody>
      </p:sp>
      <p:sp>
        <p:nvSpPr>
          <p:cNvPr id="3" name="TextBox 2">
            <a:extLst>
              <a:ext uri="{FF2B5EF4-FFF2-40B4-BE49-F238E27FC236}">
                <a16:creationId xmlns:a16="http://schemas.microsoft.com/office/drawing/2014/main" id="{C9B0D220-7A6D-84B1-28D7-CC53F657DBFC}"/>
              </a:ext>
            </a:extLst>
          </p:cNvPr>
          <p:cNvSpPr txBox="1"/>
          <p:nvPr/>
        </p:nvSpPr>
        <p:spPr>
          <a:xfrm>
            <a:off x="545524" y="-338593"/>
            <a:ext cx="2586862"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tical – aviation – version 1</a:t>
            </a:r>
          </a:p>
        </p:txBody>
      </p:sp>
      <p:pic>
        <p:nvPicPr>
          <p:cNvPr id="11" name="Graphic 10">
            <a:extLst>
              <a:ext uri="{FF2B5EF4-FFF2-40B4-BE49-F238E27FC236}">
                <a16:creationId xmlns:a16="http://schemas.microsoft.com/office/drawing/2014/main" id="{D1E51F68-CC3E-D329-376C-D646EE2CF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4456" y="138112"/>
            <a:ext cx="3042092" cy="1170432"/>
          </a:xfrm>
          <a:prstGeom prst="rect">
            <a:avLst/>
          </a:prstGeom>
        </p:spPr>
      </p:pic>
      <p:pic>
        <p:nvPicPr>
          <p:cNvPr id="5" name="Picture 4">
            <a:extLst>
              <a:ext uri="{FF2B5EF4-FFF2-40B4-BE49-F238E27FC236}">
                <a16:creationId xmlns:a16="http://schemas.microsoft.com/office/drawing/2014/main" id="{14416EB6-4414-A5BC-4844-92057CD1F481}"/>
              </a:ext>
            </a:extLst>
          </p:cNvPr>
          <p:cNvPicPr>
            <a:picLocks noChangeAspect="1"/>
          </p:cNvPicPr>
          <p:nvPr userDrawn="1"/>
        </p:nvPicPr>
        <p:blipFill>
          <a:blip r:embed="rId7" cstate="print">
            <a:extLst>
              <a:ext uri="{28A0092B-C50C-407E-A947-70E740481C1C}">
                <a14:useLocalDpi xmlns:a14="http://schemas.microsoft.com/office/drawing/2010/main"/>
              </a:ext>
            </a:extLst>
          </a:blip>
          <a:srcRect t="-3"/>
          <a:stretch>
            <a:fillRect/>
          </a:stretch>
        </p:blipFill>
        <p:spPr>
          <a:xfrm>
            <a:off x="176466" y="3594077"/>
            <a:ext cx="9842875" cy="3263922"/>
          </a:xfrm>
          <a:prstGeom prst="rect">
            <a:avLst/>
          </a:prstGeom>
        </p:spPr>
      </p:pic>
    </p:spTree>
    <p:extLst>
      <p:ext uri="{BB962C8B-B14F-4D97-AF65-F5344CB8AC3E}">
        <p14:creationId xmlns:p14="http://schemas.microsoft.com/office/powerpoint/2010/main" val="1010695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9F2C9A-3E82-0DAA-3BEC-D5619CD86856}"/>
              </a:ext>
            </a:extLst>
          </p:cNvPr>
          <p:cNvSpPr/>
          <p:nvPr userDrawn="1"/>
        </p:nvSpPr>
        <p:spPr>
          <a:xfrm>
            <a:off x="-2926" y="0"/>
            <a:ext cx="1219492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41D44F-972A-143F-914B-A65B557BF898}"/>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nl-NL" dirty="0"/>
          </a:p>
        </p:txBody>
      </p:sp>
      <p:sp>
        <p:nvSpPr>
          <p:cNvPr id="3" name="Content Placeholder 2">
            <a:extLst>
              <a:ext uri="{FF2B5EF4-FFF2-40B4-BE49-F238E27FC236}">
                <a16:creationId xmlns:a16="http://schemas.microsoft.com/office/drawing/2014/main" id="{115F9907-00C3-6580-A602-FEFC11583C30}"/>
              </a:ext>
            </a:extLst>
          </p:cNvPr>
          <p:cNvSpPr>
            <a:spLocks noGrp="1"/>
          </p:cNvSpPr>
          <p:nvPr>
            <p:ph idx="1"/>
          </p:nvPr>
        </p:nvSpPr>
        <p:spPr>
          <a:xfrm>
            <a:off x="539999" y="1709999"/>
            <a:ext cx="11107715" cy="45215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4" name="Date Placeholder 3">
            <a:extLst>
              <a:ext uri="{FF2B5EF4-FFF2-40B4-BE49-F238E27FC236}">
                <a16:creationId xmlns:a16="http://schemas.microsoft.com/office/drawing/2014/main" id="{39682058-417B-4278-0C72-7DA673AC18CC}"/>
              </a:ext>
            </a:extLst>
          </p:cNvPr>
          <p:cNvSpPr>
            <a:spLocks noGrp="1"/>
          </p:cNvSpPr>
          <p:nvPr>
            <p:ph type="dt" sz="half" idx="14"/>
          </p:nvPr>
        </p:nvSpPr>
        <p:spPr/>
        <p:txBody>
          <a:bodyPr/>
          <a:lstStyle>
            <a:lvl1pPr>
              <a:defRPr>
                <a:solidFill>
                  <a:schemeClr val="bg1"/>
                </a:solidFill>
              </a:defRPr>
            </a:lvl1pPr>
          </a:lstStyle>
          <a:p>
            <a:fld id="{BEB22B47-D53E-4036-966D-BBC0284ADB56}" type="datetimeFigureOut">
              <a:rPr lang="en-US" smtClean="0"/>
              <a:pPr/>
              <a:t>3/13/26</a:t>
            </a:fld>
            <a:endParaRPr lang="en-US"/>
          </a:p>
        </p:txBody>
      </p:sp>
      <p:sp>
        <p:nvSpPr>
          <p:cNvPr id="5" name="Footer Placeholder 4">
            <a:extLst>
              <a:ext uri="{FF2B5EF4-FFF2-40B4-BE49-F238E27FC236}">
                <a16:creationId xmlns:a16="http://schemas.microsoft.com/office/drawing/2014/main" id="{1A9A63D8-9BBA-A598-9C4B-832CE9BB5669}"/>
              </a:ext>
            </a:extLst>
          </p:cNvPr>
          <p:cNvSpPr>
            <a:spLocks noGrp="1"/>
          </p:cNvSpPr>
          <p:nvPr>
            <p:ph type="ftr" sz="quarter" idx="15"/>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C1C05845-F4F0-E3C7-8BB2-6FEA45DBE86B}"/>
              </a:ext>
            </a:extLst>
          </p:cNvPr>
          <p:cNvSpPr>
            <a:spLocks noGrp="1"/>
          </p:cNvSpPr>
          <p:nvPr>
            <p:ph type="sldNum" sz="quarter" idx="16"/>
          </p:nvPr>
        </p:nvSpPr>
        <p:spPr/>
        <p:txBody>
          <a:bodyPr/>
          <a:lstStyle>
            <a:lvl1pPr>
              <a:defRPr>
                <a:solidFill>
                  <a:schemeClr val="bg1"/>
                </a:solidFill>
              </a:defRPr>
            </a:lvl1pPr>
          </a:lstStyle>
          <a:p>
            <a:fld id="{CAD289FC-94DA-414F-BF09-0C2EF808B77F}" type="slidenum">
              <a:rPr lang="en-US" smtClean="0"/>
              <a:pPr/>
              <a:t>‹#›</a:t>
            </a:fld>
            <a:endParaRPr lang="en-US"/>
          </a:p>
        </p:txBody>
      </p:sp>
      <p:sp>
        <p:nvSpPr>
          <p:cNvPr id="7" name="TextBox 6">
            <a:extLst>
              <a:ext uri="{FF2B5EF4-FFF2-40B4-BE49-F238E27FC236}">
                <a16:creationId xmlns:a16="http://schemas.microsoft.com/office/drawing/2014/main" id="{D99EDC11-313D-9EB7-4D4C-81179DFE6DDE}"/>
              </a:ext>
            </a:extLst>
          </p:cNvPr>
          <p:cNvSpPr txBox="1"/>
          <p:nvPr/>
        </p:nvSpPr>
        <p:spPr>
          <a:xfrm>
            <a:off x="545524" y="-338593"/>
            <a:ext cx="1363771" cy="184666"/>
          </a:xfrm>
          <a:prstGeom prst="rect">
            <a:avLst/>
          </a:prstGeom>
          <a:noFill/>
        </p:spPr>
        <p:txBody>
          <a:bodyPr wrap="none" lIns="0" tIns="0" rIns="0" bIns="0" rtlCol="0">
            <a:spAutoFit/>
          </a:bodyPr>
          <a:lstStyle/>
          <a:p>
            <a:r>
              <a:rPr lang="en-GB" sz="1200" b="1" dirty="0">
                <a:solidFill>
                  <a:schemeClr val="accent1"/>
                </a:solidFill>
              </a:rPr>
              <a:t>Standard slide</a:t>
            </a:r>
            <a:r>
              <a:rPr lang="en-GB" sz="1200" dirty="0">
                <a:solidFill>
                  <a:schemeClr val="accent1"/>
                </a:solidFill>
              </a:rPr>
              <a:t> light</a:t>
            </a:r>
          </a:p>
        </p:txBody>
      </p:sp>
      <p:cxnSp>
        <p:nvCxnSpPr>
          <p:cNvPr id="8" name="Straight Connector 7">
            <a:extLst>
              <a:ext uri="{FF2B5EF4-FFF2-40B4-BE49-F238E27FC236}">
                <a16:creationId xmlns:a16="http://schemas.microsoft.com/office/drawing/2014/main" id="{4BC643F5-F449-F2FC-E568-EDD52A1D12FB}"/>
              </a:ext>
            </a:extLst>
          </p:cNvPr>
          <p:cNvCxnSpPr>
            <a:cxnSpLocks/>
          </p:cNvCxnSpPr>
          <p:nvPr/>
        </p:nvCxnSpPr>
        <p:spPr>
          <a:xfrm flipV="1">
            <a:off x="60960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C2529A6-4174-5CFE-82A9-D830F8E2E1E1}"/>
              </a:ext>
            </a:extLst>
          </p:cNvPr>
          <p:cNvCxnSpPr>
            <a:cxnSpLocks/>
          </p:cNvCxnSpPr>
          <p:nvPr/>
        </p:nvCxnSpPr>
        <p:spPr>
          <a:xfrm flipV="1">
            <a:off x="5447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8733EBAB-7B0E-A243-606C-70C986475F4B}"/>
              </a:ext>
            </a:extLst>
          </p:cNvPr>
          <p:cNvCxnSpPr>
            <a:cxnSpLocks/>
          </p:cNvCxnSpPr>
          <p:nvPr/>
        </p:nvCxnSpPr>
        <p:spPr>
          <a:xfrm flipV="1">
            <a:off x="60960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65FE2158-7133-231A-08B8-66681F6282B2}"/>
              </a:ext>
            </a:extLst>
          </p:cNvPr>
          <p:cNvCxnSpPr>
            <a:cxnSpLocks/>
          </p:cNvCxnSpPr>
          <p:nvPr/>
        </p:nvCxnSpPr>
        <p:spPr>
          <a:xfrm flipV="1">
            <a:off x="5447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22E04FB-60B5-850F-F40F-1E90F1233371}"/>
              </a:ext>
            </a:extLst>
          </p:cNvPr>
          <p:cNvCxnSpPr>
            <a:cxnSpLocks/>
          </p:cNvCxnSpPr>
          <p:nvPr/>
        </p:nvCxnSpPr>
        <p:spPr>
          <a:xfrm flipV="1">
            <a:off x="1164538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3" name="Graphic 7">
            <a:extLst>
              <a:ext uri="{FF2B5EF4-FFF2-40B4-BE49-F238E27FC236}">
                <a16:creationId xmlns:a16="http://schemas.microsoft.com/office/drawing/2014/main" id="{A13271B7-AB5A-5C30-031F-44F3A0BAA5B4}"/>
              </a:ext>
            </a:extLst>
          </p:cNvPr>
          <p:cNvGrpSpPr/>
          <p:nvPr userDrawn="1"/>
        </p:nvGrpSpPr>
        <p:grpSpPr>
          <a:xfrm>
            <a:off x="10312009" y="358805"/>
            <a:ext cx="1484313" cy="313023"/>
            <a:chOff x="2534931" y="608064"/>
            <a:chExt cx="1484313" cy="313023"/>
          </a:xfrm>
          <a:solidFill>
            <a:schemeClr val="bg1"/>
          </a:solidFill>
        </p:grpSpPr>
        <p:sp>
          <p:nvSpPr>
            <p:cNvPr id="14" name="Freeform: Shape 13">
              <a:extLst>
                <a:ext uri="{FF2B5EF4-FFF2-40B4-BE49-F238E27FC236}">
                  <a16:creationId xmlns:a16="http://schemas.microsoft.com/office/drawing/2014/main" id="{077AC0A3-9127-6C36-F0E7-9D69038B2798}"/>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56C6D08-B723-F88F-A207-E9A250A47B87}"/>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7828DFA-8ABF-508D-ABE9-3FB83B1CC88F}"/>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A1F2AEDB-9AB9-B57A-3A59-26EF43E12D57}"/>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2B42DB0-C94F-655E-977D-1F9E82D09EB3}"/>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D7BFFA6-4105-4B59-6A3B-8472685D3FDC}"/>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95658FF-8EE3-33CC-0ADA-61675012436B}"/>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D6132BA-7BED-27E9-AEF8-30C74035EF74}"/>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4F1683B4-2F07-BED5-2BF1-47BBE018F659}"/>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BC821BFD-3E1E-B7DE-44B4-710F0F1F1DC9}"/>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52CB0A07-CDDF-C469-AECB-7B0EBDA7FE6F}"/>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9E4BDE73-C669-0346-8789-A22EC83DA305}"/>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17B686-8B2C-B06E-D172-1AD0BCF0E58E}"/>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6479BF4-45B4-04C0-4E5F-7196AA876B78}"/>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BFC8F6E7-B744-568D-688C-D2A7755C74C3}"/>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F4E5E05-3BA1-B91A-374F-2CCBFB8E12AC}"/>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4BF6456-3B97-D2BD-D2C7-144E412C71C5}"/>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F39E186D-574C-3C5D-C31D-229642DB56CB}"/>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17D6BDB2-6841-E714-89A7-24E7518FF753}"/>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B70BC1C-19B2-ED87-09B1-C797CE754ADC}"/>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E42C6C5A-D17E-19AC-0BEF-1D49B1F6E733}"/>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sp>
        <p:nvSpPr>
          <p:cNvPr id="37" name="TextBox 36">
            <a:extLst>
              <a:ext uri="{FF2B5EF4-FFF2-40B4-BE49-F238E27FC236}">
                <a16:creationId xmlns:a16="http://schemas.microsoft.com/office/drawing/2014/main" id="{10ED5E42-4B0A-7775-43EB-290146E8EB56}"/>
              </a:ext>
            </a:extLst>
          </p:cNvPr>
          <p:cNvSpPr txBox="1"/>
          <p:nvPr userDrawn="1"/>
        </p:nvSpPr>
        <p:spPr>
          <a:xfrm>
            <a:off x="900000" y="6408000"/>
            <a:ext cx="271188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bg1"/>
                </a:solidFill>
                <a:effectLst/>
                <a:uLnTx/>
                <a:uFillTx/>
                <a:latin typeface="Aptos Regular"/>
                <a:ea typeface="+mn-ea"/>
                <a:cs typeface="+mn-cs"/>
              </a:rPr>
              <a:t>SES Space &amp; </a:t>
            </a:r>
            <a:r>
              <a:rPr kumimoji="0" lang="en-GB" sz="800" b="0" i="0" u="none" strike="noStrike" kern="1200" cap="none" spc="0" normalizeH="0" baseline="0" noProof="0" dirty="0" err="1">
                <a:ln>
                  <a:noFill/>
                </a:ln>
                <a:solidFill>
                  <a:schemeClr val="bg1"/>
                </a:solidFill>
                <a:effectLst/>
                <a:uLnTx/>
                <a:uFillTx/>
                <a:latin typeface="Aptos Regular"/>
                <a:ea typeface="+mn-ea"/>
                <a:cs typeface="+mn-cs"/>
              </a:rPr>
              <a:t>Defense</a:t>
            </a:r>
            <a:r>
              <a:rPr kumimoji="0" lang="en-GB" sz="800" b="0" i="0" u="none" strike="noStrike" kern="1200" cap="none" spc="0" normalizeH="0" baseline="0" noProof="0" dirty="0">
                <a:ln>
                  <a:noFill/>
                </a:ln>
                <a:solidFill>
                  <a:schemeClr val="bg1"/>
                </a:solidFill>
                <a:effectLst/>
                <a:uLnTx/>
                <a:uFillTx/>
                <a:latin typeface="Aptos Regular"/>
                <a:ea typeface="+mn-ea"/>
                <a:cs typeface="+mn-cs"/>
              </a:rPr>
              <a:t> </a:t>
            </a:r>
            <a:endParaRPr lang="en-GB" sz="800" dirty="0">
              <a:solidFill>
                <a:schemeClr val="bg1"/>
              </a:solidFill>
            </a:endParaRPr>
          </a:p>
        </p:txBody>
      </p:sp>
      <p:sp>
        <p:nvSpPr>
          <p:cNvPr id="39" name="Text Placeholder 15">
            <a:extLst>
              <a:ext uri="{FF2B5EF4-FFF2-40B4-BE49-F238E27FC236}">
                <a16:creationId xmlns:a16="http://schemas.microsoft.com/office/drawing/2014/main" id="{7BE4A7CC-7558-F2F8-5B2D-B25257029BC1}"/>
              </a:ext>
            </a:extLst>
          </p:cNvPr>
          <p:cNvSpPr>
            <a:spLocks noGrp="1"/>
          </p:cNvSpPr>
          <p:nvPr>
            <p:ph type="body" sz="quarter" idx="13" hasCustomPrompt="1"/>
          </p:nvPr>
        </p:nvSpPr>
        <p:spPr>
          <a:xfrm>
            <a:off x="541338" y="1009185"/>
            <a:ext cx="11107738" cy="256054"/>
          </a:xfrm>
        </p:spPr>
        <p:txBody>
          <a:bodyPr/>
          <a:lstStyle>
            <a:lvl1pPr>
              <a:lnSpc>
                <a:spcPct val="90000"/>
              </a:lnSpc>
              <a:defRPr sz="2400" b="0">
                <a:solidFill>
                  <a:schemeClr val="accent4"/>
                </a:solidFill>
                <a:latin typeface="+mj-lt"/>
              </a:defRPr>
            </a:lvl1pPr>
          </a:lstStyle>
          <a:p>
            <a:pPr lvl="0"/>
            <a:r>
              <a:rPr lang="en-GB" dirty="0"/>
              <a:t>Click to add subtitle</a:t>
            </a:r>
          </a:p>
        </p:txBody>
      </p:sp>
    </p:spTree>
    <p:extLst>
      <p:ext uri="{BB962C8B-B14F-4D97-AF65-F5344CB8AC3E}">
        <p14:creationId xmlns:p14="http://schemas.microsoft.com/office/powerpoint/2010/main" val="69263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 centric">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210C9645-CD9E-E9B0-0E4C-BE37C591CBF1}"/>
              </a:ext>
            </a:extLst>
          </p:cNvPr>
          <p:cNvPicPr>
            <a:picLocks noChangeAspect="1"/>
          </p:cNvPicPr>
          <p:nvPr/>
        </p:nvPicPr>
        <p:blipFill>
          <a:blip r:embed="rId2">
            <a:extLst>
              <a:ext uri="{96DAC541-7B7A-43D3-8B79-37D633B846F1}">
                <asvg:svgBlip xmlns:asvg="http://schemas.microsoft.com/office/drawing/2016/SVG/main" r:embed="rId3"/>
              </a:ext>
            </a:extLst>
          </a:blip>
          <a:srcRect t="60198" r="9310"/>
          <a:stretch>
            <a:fillRect/>
          </a:stretch>
        </p:blipFill>
        <p:spPr>
          <a:xfrm>
            <a:off x="7972935" y="0"/>
            <a:ext cx="4219065" cy="1864360"/>
          </a:xfrm>
          <a:prstGeom prst="rect">
            <a:avLst/>
          </a:prstGeom>
        </p:spPr>
      </p:pic>
      <p:sp>
        <p:nvSpPr>
          <p:cNvPr id="2" name="Title 1">
            <a:extLst>
              <a:ext uri="{FF2B5EF4-FFF2-40B4-BE49-F238E27FC236}">
                <a16:creationId xmlns:a16="http://schemas.microsoft.com/office/drawing/2014/main" id="{9941D44F-972A-143F-914B-A65B557BF898}"/>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115F9907-00C3-6580-A602-FEFC11583C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Date Placeholder 3">
            <a:extLst>
              <a:ext uri="{FF2B5EF4-FFF2-40B4-BE49-F238E27FC236}">
                <a16:creationId xmlns:a16="http://schemas.microsoft.com/office/drawing/2014/main" id="{39682058-417B-4278-0C72-7DA673AC18CC}"/>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5" name="Footer Placeholder 4">
            <a:extLst>
              <a:ext uri="{FF2B5EF4-FFF2-40B4-BE49-F238E27FC236}">
                <a16:creationId xmlns:a16="http://schemas.microsoft.com/office/drawing/2014/main" id="{1A9A63D8-9BBA-A598-9C4B-832CE9BB5669}"/>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C1C05845-F4F0-E3C7-8BB2-6FEA45DBE86B}"/>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7" name="TextBox 6">
            <a:extLst>
              <a:ext uri="{FF2B5EF4-FFF2-40B4-BE49-F238E27FC236}">
                <a16:creationId xmlns:a16="http://schemas.microsoft.com/office/drawing/2014/main" id="{D99EDC11-313D-9EB7-4D4C-81179DFE6DDE}"/>
              </a:ext>
            </a:extLst>
          </p:cNvPr>
          <p:cNvSpPr txBox="1"/>
          <p:nvPr/>
        </p:nvSpPr>
        <p:spPr>
          <a:xfrm>
            <a:off x="545524" y="-338593"/>
            <a:ext cx="1913601" cy="184666"/>
          </a:xfrm>
          <a:prstGeom prst="rect">
            <a:avLst/>
          </a:prstGeom>
          <a:noFill/>
        </p:spPr>
        <p:txBody>
          <a:bodyPr wrap="none" lIns="0" tIns="0" rIns="0" bIns="0" rtlCol="0">
            <a:spAutoFit/>
          </a:bodyPr>
          <a:lstStyle/>
          <a:p>
            <a:r>
              <a:rPr lang="en-GB" sz="1200" b="1" dirty="0">
                <a:solidFill>
                  <a:schemeClr val="accent1"/>
                </a:solidFill>
              </a:rPr>
              <a:t>Standard slide</a:t>
            </a:r>
            <a:r>
              <a:rPr lang="en-GB" sz="1200" dirty="0">
                <a:solidFill>
                  <a:schemeClr val="accent1"/>
                </a:solidFill>
              </a:rPr>
              <a:t> light - centric</a:t>
            </a:r>
          </a:p>
        </p:txBody>
      </p:sp>
      <p:cxnSp>
        <p:nvCxnSpPr>
          <p:cNvPr id="8" name="Straight Connector 7">
            <a:extLst>
              <a:ext uri="{FF2B5EF4-FFF2-40B4-BE49-F238E27FC236}">
                <a16:creationId xmlns:a16="http://schemas.microsoft.com/office/drawing/2014/main" id="{4BC643F5-F449-F2FC-E568-EDD52A1D12FB}"/>
              </a:ext>
            </a:extLst>
          </p:cNvPr>
          <p:cNvCxnSpPr>
            <a:cxnSpLocks/>
          </p:cNvCxnSpPr>
          <p:nvPr/>
        </p:nvCxnSpPr>
        <p:spPr>
          <a:xfrm flipV="1">
            <a:off x="60960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C2529A6-4174-5CFE-82A9-D830F8E2E1E1}"/>
              </a:ext>
            </a:extLst>
          </p:cNvPr>
          <p:cNvCxnSpPr>
            <a:cxnSpLocks/>
          </p:cNvCxnSpPr>
          <p:nvPr/>
        </p:nvCxnSpPr>
        <p:spPr>
          <a:xfrm flipV="1">
            <a:off x="5447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63D1FDEC-71C6-FBF0-B891-695D43738C22}"/>
              </a:ext>
            </a:extLst>
          </p:cNvPr>
          <p:cNvCxnSpPr>
            <a:cxnSpLocks/>
          </p:cNvCxnSpPr>
          <p:nvPr/>
        </p:nvCxnSpPr>
        <p:spPr>
          <a:xfrm flipV="1">
            <a:off x="1006792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3FE3545-9110-E3C6-76BE-D54C4C1F9510}"/>
              </a:ext>
            </a:extLst>
          </p:cNvPr>
          <p:cNvCxnSpPr>
            <a:cxnSpLocks/>
          </p:cNvCxnSpPr>
          <p:nvPr/>
        </p:nvCxnSpPr>
        <p:spPr>
          <a:xfrm flipV="1">
            <a:off x="116490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10" name="Text Placeholder 15">
            <a:extLst>
              <a:ext uri="{FF2B5EF4-FFF2-40B4-BE49-F238E27FC236}">
                <a16:creationId xmlns:a16="http://schemas.microsoft.com/office/drawing/2014/main" id="{DCF5AC0D-5D5B-6A9D-FE8D-FA7A791A9688}"/>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35821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 Dark">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9D3B19F-7401-1B7E-5B8D-77F5304F2396}"/>
              </a:ext>
            </a:extLst>
          </p:cNvPr>
          <p:cNvSpPr/>
          <p:nvPr/>
        </p:nvSpPr>
        <p:spPr>
          <a:xfrm>
            <a:off x="-2926" y="0"/>
            <a:ext cx="12194925"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41D44F-972A-143F-914B-A65B557BF898}"/>
              </a:ext>
            </a:extLst>
          </p:cNvPr>
          <p:cNvSpPr>
            <a:spLocks noGrp="1"/>
          </p:cNvSpPr>
          <p:nvPr>
            <p:ph type="title"/>
          </p:nvPr>
        </p:nvSpPr>
        <p:spPr/>
        <p:txBody>
          <a:bodyPr/>
          <a:lstStyle/>
          <a:p>
            <a:r>
              <a:rPr lang="en-US"/>
              <a:t>Click to edit Master title style</a:t>
            </a:r>
            <a:endParaRPr lang="nl-NL" dirty="0"/>
          </a:p>
        </p:txBody>
      </p:sp>
      <p:sp>
        <p:nvSpPr>
          <p:cNvPr id="3" name="Content Placeholder 2">
            <a:extLst>
              <a:ext uri="{FF2B5EF4-FFF2-40B4-BE49-F238E27FC236}">
                <a16:creationId xmlns:a16="http://schemas.microsoft.com/office/drawing/2014/main" id="{115F9907-00C3-6580-A602-FEFC11583C30}"/>
              </a:ext>
            </a:extLst>
          </p:cNvPr>
          <p:cNvSpPr>
            <a:spLocks noGrp="1"/>
          </p:cNvSpPr>
          <p:nvPr>
            <p:ph idx="1"/>
          </p:nvPr>
        </p:nvSpPr>
        <p:spPr/>
        <p:txBody>
          <a:bodyPr/>
          <a:lstStyle>
            <a:lvl1pPr>
              <a:defRPr>
                <a:solidFill>
                  <a:schemeClr val="tx1"/>
                </a:solidFill>
              </a:defRPr>
            </a:lvl1pPr>
            <a:lvl3pPr>
              <a:buClr>
                <a:schemeClr val="accent4"/>
              </a:buClr>
              <a:defRPr/>
            </a:lvl3pPr>
            <a:lvl4pPr>
              <a:buClr>
                <a:schemeClr val="accent4"/>
              </a:buClr>
              <a:defRPr/>
            </a:lvl4pPr>
            <a:lvl5pPr>
              <a:buClr>
                <a:schemeClr val="accent4"/>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Date Placeholder 4">
            <a:extLst>
              <a:ext uri="{FF2B5EF4-FFF2-40B4-BE49-F238E27FC236}">
                <a16:creationId xmlns:a16="http://schemas.microsoft.com/office/drawing/2014/main" id="{27241360-2841-1BFB-A489-2DCD97D37C14}"/>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7" name="Footer Placeholder 6">
            <a:extLst>
              <a:ext uri="{FF2B5EF4-FFF2-40B4-BE49-F238E27FC236}">
                <a16:creationId xmlns:a16="http://schemas.microsoft.com/office/drawing/2014/main" id="{E83376A1-869C-1C78-17BB-4E4D73E65B54}"/>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E53BDF98-A959-CA41-17BC-38F7D77A3670}"/>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9" name="TextBox 8">
            <a:extLst>
              <a:ext uri="{FF2B5EF4-FFF2-40B4-BE49-F238E27FC236}">
                <a16:creationId xmlns:a16="http://schemas.microsoft.com/office/drawing/2014/main" id="{8BAA4812-57EA-6935-4EA0-549177368593}"/>
              </a:ext>
            </a:extLst>
          </p:cNvPr>
          <p:cNvSpPr txBox="1"/>
          <p:nvPr/>
        </p:nvSpPr>
        <p:spPr>
          <a:xfrm>
            <a:off x="900000" y="6408000"/>
            <a:ext cx="268140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tx1"/>
                </a:solidFill>
                <a:effectLst/>
                <a:uLnTx/>
                <a:uFillTx/>
                <a:latin typeface="Aptos Regular"/>
                <a:ea typeface="+mn-ea"/>
                <a:cs typeface="+mn-cs"/>
              </a:rPr>
              <a:t>SES Space &amp; Defense Proprietary and Confidential</a:t>
            </a:r>
            <a:endParaRPr lang="en-GB" sz="800" dirty="0">
              <a:solidFill>
                <a:schemeClr val="tx1"/>
              </a:solidFill>
            </a:endParaRPr>
          </a:p>
        </p:txBody>
      </p:sp>
      <p:sp>
        <p:nvSpPr>
          <p:cNvPr id="13" name="TextBox 12">
            <a:extLst>
              <a:ext uri="{FF2B5EF4-FFF2-40B4-BE49-F238E27FC236}">
                <a16:creationId xmlns:a16="http://schemas.microsoft.com/office/drawing/2014/main" id="{60DABA9A-CEDE-719A-08E6-AC8D49808F45}"/>
              </a:ext>
            </a:extLst>
          </p:cNvPr>
          <p:cNvSpPr txBox="1"/>
          <p:nvPr/>
        </p:nvSpPr>
        <p:spPr>
          <a:xfrm>
            <a:off x="545524" y="-338593"/>
            <a:ext cx="1339726" cy="184666"/>
          </a:xfrm>
          <a:prstGeom prst="rect">
            <a:avLst/>
          </a:prstGeom>
          <a:noFill/>
        </p:spPr>
        <p:txBody>
          <a:bodyPr wrap="none" lIns="0" tIns="0" rIns="0" bIns="0" rtlCol="0">
            <a:spAutoFit/>
          </a:bodyPr>
          <a:lstStyle/>
          <a:p>
            <a:r>
              <a:rPr lang="en-GB" sz="1200" b="1" dirty="0">
                <a:solidFill>
                  <a:schemeClr val="accent1"/>
                </a:solidFill>
              </a:rPr>
              <a:t>Standard slide</a:t>
            </a:r>
            <a:r>
              <a:rPr lang="en-GB" sz="1200" dirty="0">
                <a:solidFill>
                  <a:schemeClr val="accent1"/>
                </a:solidFill>
              </a:rPr>
              <a:t> dark</a:t>
            </a:r>
          </a:p>
        </p:txBody>
      </p:sp>
      <p:cxnSp>
        <p:nvCxnSpPr>
          <p:cNvPr id="14" name="Straight Connector 13">
            <a:extLst>
              <a:ext uri="{FF2B5EF4-FFF2-40B4-BE49-F238E27FC236}">
                <a16:creationId xmlns:a16="http://schemas.microsoft.com/office/drawing/2014/main" id="{1B1B9BA4-BE8D-341A-0DB7-FF6926D9A04E}"/>
              </a:ext>
            </a:extLst>
          </p:cNvPr>
          <p:cNvCxnSpPr>
            <a:cxnSpLocks/>
          </p:cNvCxnSpPr>
          <p:nvPr/>
        </p:nvCxnSpPr>
        <p:spPr>
          <a:xfrm flipV="1">
            <a:off x="60960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11B5532C-6217-DBB5-A384-01CAFD83DC18}"/>
              </a:ext>
            </a:extLst>
          </p:cNvPr>
          <p:cNvCxnSpPr>
            <a:cxnSpLocks/>
          </p:cNvCxnSpPr>
          <p:nvPr/>
        </p:nvCxnSpPr>
        <p:spPr>
          <a:xfrm flipV="1">
            <a:off x="5447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8B7955EB-79FC-A0F4-9B40-8CAF56CF7FC6}"/>
              </a:ext>
            </a:extLst>
          </p:cNvPr>
          <p:cNvCxnSpPr>
            <a:cxnSpLocks/>
          </p:cNvCxnSpPr>
          <p:nvPr/>
        </p:nvCxnSpPr>
        <p:spPr>
          <a:xfrm flipV="1">
            <a:off x="1006792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EA864AC-E01C-BF9F-C5C7-B01A69552DD1}"/>
              </a:ext>
            </a:extLst>
          </p:cNvPr>
          <p:cNvCxnSpPr>
            <a:cxnSpLocks/>
          </p:cNvCxnSpPr>
          <p:nvPr/>
        </p:nvCxnSpPr>
        <p:spPr>
          <a:xfrm flipV="1">
            <a:off x="116490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77" name="Graphic 7">
            <a:extLst>
              <a:ext uri="{FF2B5EF4-FFF2-40B4-BE49-F238E27FC236}">
                <a16:creationId xmlns:a16="http://schemas.microsoft.com/office/drawing/2014/main" id="{B459D1E0-B406-E1F8-064D-5C3FEAAAA6BD}"/>
              </a:ext>
            </a:extLst>
          </p:cNvPr>
          <p:cNvGrpSpPr/>
          <p:nvPr/>
        </p:nvGrpSpPr>
        <p:grpSpPr>
          <a:xfrm>
            <a:off x="10312009" y="358805"/>
            <a:ext cx="1484313" cy="313023"/>
            <a:chOff x="2534931" y="608064"/>
            <a:chExt cx="1484313" cy="313023"/>
          </a:xfrm>
          <a:solidFill>
            <a:schemeClr val="tx1"/>
          </a:solidFill>
        </p:grpSpPr>
        <p:sp>
          <p:nvSpPr>
            <p:cNvPr id="78" name="Freeform: Shape 77">
              <a:extLst>
                <a:ext uri="{FF2B5EF4-FFF2-40B4-BE49-F238E27FC236}">
                  <a16:creationId xmlns:a16="http://schemas.microsoft.com/office/drawing/2014/main" id="{F0B84FCF-90CB-EEB1-9468-B13A3AC09C19}"/>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FE4058F-8970-666E-570E-896691F33D11}"/>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C4594386-1614-F37A-B2FD-5D38F647C861}"/>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F608B5FB-476D-87BC-04A7-14736142CB64}"/>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E387107B-389D-AB17-715D-2B562B222523}"/>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233583E8-2655-7E51-E883-93117F753F16}"/>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00ADECDB-DF0B-3CB9-5418-3E8468FD5F09}"/>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285BEF3E-1C1D-BEE7-0A33-0E4AE44136A5}"/>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CF4E343-DF9A-3429-049E-8A1770641B11}"/>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F99CD0D6-822C-4BDB-5CD9-659763C14D0D}"/>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11BF0098-C472-5322-3421-FF2AEB0B782E}"/>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20B9429A-C55E-249E-5B5B-4F8E7D8E0E3A}"/>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5C532BD-F0DF-A2C3-50BC-686EC5FC38B6}"/>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237D0BF-D1DC-3343-EB9A-6438996837CB}"/>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CCBB3824-0521-E3C8-DC1B-D05D52FF987E}"/>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A59EA72B-926C-976A-9547-75C85604837B}"/>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F204E13E-9E41-8D81-A19C-E1BC27F354A0}"/>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57EE16E4-A3EA-618E-6388-77E401870B16}"/>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D31A6CC2-8536-087C-D780-F24AF494CA91}"/>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ACE4CEA-C164-19F8-0426-07837D4EDEB1}"/>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623E96FC-E6F0-43D5-4EBC-78C40455039F}"/>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pic>
        <p:nvPicPr>
          <p:cNvPr id="11" name="Graphic 10">
            <a:extLst>
              <a:ext uri="{FF2B5EF4-FFF2-40B4-BE49-F238E27FC236}">
                <a16:creationId xmlns:a16="http://schemas.microsoft.com/office/drawing/2014/main" id="{55A6D82A-5DFF-A0FE-6673-9C000EDEF657}"/>
              </a:ext>
            </a:extLst>
          </p:cNvPr>
          <p:cNvPicPr>
            <a:picLocks noChangeAspect="1"/>
          </p:cNvPicPr>
          <p:nvPr/>
        </p:nvPicPr>
        <p:blipFill>
          <a:blip r:embed="rId2">
            <a:extLst>
              <a:ext uri="{96DAC541-7B7A-43D3-8B79-37D633B846F1}">
                <asvg:svgBlip xmlns:asvg="http://schemas.microsoft.com/office/drawing/2016/SVG/main" r:embed="rId3"/>
              </a:ext>
            </a:extLst>
          </a:blip>
          <a:srcRect t="60198" r="9310"/>
          <a:stretch>
            <a:fillRect/>
          </a:stretch>
        </p:blipFill>
        <p:spPr>
          <a:xfrm>
            <a:off x="7972935" y="0"/>
            <a:ext cx="4219065" cy="1864360"/>
          </a:xfrm>
          <a:prstGeom prst="rect">
            <a:avLst/>
          </a:prstGeom>
        </p:spPr>
      </p:pic>
      <p:sp>
        <p:nvSpPr>
          <p:cNvPr id="4" name="Text Placeholder 15">
            <a:extLst>
              <a:ext uri="{FF2B5EF4-FFF2-40B4-BE49-F238E27FC236}">
                <a16:creationId xmlns:a16="http://schemas.microsoft.com/office/drawing/2014/main" id="{F094A76C-3414-AB4A-4A45-D4307141377B}"/>
              </a:ext>
            </a:extLst>
          </p:cNvPr>
          <p:cNvSpPr>
            <a:spLocks noGrp="1"/>
          </p:cNvSpPr>
          <p:nvPr>
            <p:ph type="body" sz="quarter" idx="13" hasCustomPrompt="1"/>
          </p:nvPr>
        </p:nvSpPr>
        <p:spPr>
          <a:xfrm>
            <a:off x="541338" y="1009185"/>
            <a:ext cx="11107738" cy="256054"/>
          </a:xfrm>
        </p:spPr>
        <p:txBody>
          <a:bodyPr/>
          <a:lstStyle>
            <a:lvl1pPr>
              <a:lnSpc>
                <a:spcPct val="90000"/>
              </a:lnSpc>
              <a:defRPr sz="2400" b="0">
                <a:solidFill>
                  <a:schemeClr val="accent4"/>
                </a:solidFill>
                <a:latin typeface="+mj-lt"/>
              </a:defRPr>
            </a:lvl1pPr>
          </a:lstStyle>
          <a:p>
            <a:pPr lvl="0"/>
            <a:r>
              <a:rPr lang="en-GB" dirty="0"/>
              <a:t>Click to add subtitle</a:t>
            </a:r>
          </a:p>
        </p:txBody>
      </p:sp>
    </p:spTree>
    <p:extLst>
      <p:ext uri="{BB962C8B-B14F-4D97-AF65-F5344CB8AC3E}">
        <p14:creationId xmlns:p14="http://schemas.microsoft.com/office/powerpoint/2010/main" val="4234515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ection Header - Light ">
    <p:spTree>
      <p:nvGrpSpPr>
        <p:cNvPr id="1" name=""/>
        <p:cNvGrpSpPr/>
        <p:nvPr/>
      </p:nvGrpSpPr>
      <p:grpSpPr>
        <a:xfrm>
          <a:off x="0" y="0"/>
          <a:ext cx="0" cy="0"/>
          <a:chOff x="0" y="0"/>
          <a:chExt cx="0" cy="0"/>
        </a:xfrm>
      </p:grpSpPr>
      <p:grpSp>
        <p:nvGrpSpPr>
          <p:cNvPr id="118" name="Group 117">
            <a:extLst>
              <a:ext uri="{FF2B5EF4-FFF2-40B4-BE49-F238E27FC236}">
                <a16:creationId xmlns:a16="http://schemas.microsoft.com/office/drawing/2014/main" id="{890CB649-76DB-B7A3-1496-C7AB49E95311}"/>
              </a:ext>
            </a:extLst>
          </p:cNvPr>
          <p:cNvGrpSpPr/>
          <p:nvPr/>
        </p:nvGrpSpPr>
        <p:grpSpPr>
          <a:xfrm>
            <a:off x="536806" y="354697"/>
            <a:ext cx="1478530" cy="312146"/>
            <a:chOff x="10312009" y="358805"/>
            <a:chExt cx="1478530" cy="312146"/>
          </a:xfrm>
        </p:grpSpPr>
        <p:grpSp>
          <p:nvGrpSpPr>
            <p:cNvPr id="119" name="Graphic 11">
              <a:extLst>
                <a:ext uri="{FF2B5EF4-FFF2-40B4-BE49-F238E27FC236}">
                  <a16:creationId xmlns:a16="http://schemas.microsoft.com/office/drawing/2014/main" id="{ACFB2B64-0546-74EA-6EB1-894B98EF4978}"/>
                </a:ext>
              </a:extLst>
            </p:cNvPr>
            <p:cNvGrpSpPr/>
            <p:nvPr/>
          </p:nvGrpSpPr>
          <p:grpSpPr>
            <a:xfrm>
              <a:off x="10312009" y="358805"/>
              <a:ext cx="973443" cy="312146"/>
              <a:chOff x="10312009" y="358805"/>
              <a:chExt cx="973443" cy="312146"/>
            </a:xfrm>
          </p:grpSpPr>
          <p:grpSp>
            <p:nvGrpSpPr>
              <p:cNvPr id="134" name="Graphic 11">
                <a:extLst>
                  <a:ext uri="{FF2B5EF4-FFF2-40B4-BE49-F238E27FC236}">
                    <a16:creationId xmlns:a16="http://schemas.microsoft.com/office/drawing/2014/main" id="{0527D88E-9553-F0ED-2D52-15FD1DC1D29B}"/>
                  </a:ext>
                </a:extLst>
              </p:cNvPr>
              <p:cNvGrpSpPr/>
              <p:nvPr/>
            </p:nvGrpSpPr>
            <p:grpSpPr>
              <a:xfrm>
                <a:off x="10717609" y="404559"/>
                <a:ext cx="567842" cy="212340"/>
                <a:chOff x="10717609" y="404559"/>
                <a:chExt cx="567842" cy="212340"/>
              </a:xfrm>
              <a:solidFill>
                <a:srgbClr val="30087B"/>
              </a:solidFill>
            </p:grpSpPr>
            <p:sp>
              <p:nvSpPr>
                <p:cNvPr id="144" name="Freeform: Shape 143">
                  <a:extLst>
                    <a:ext uri="{FF2B5EF4-FFF2-40B4-BE49-F238E27FC236}">
                      <a16:creationId xmlns:a16="http://schemas.microsoft.com/office/drawing/2014/main" id="{04C73485-53F3-7DFE-AFC1-47A5C8E9E599}"/>
                    </a:ext>
                  </a:extLst>
                </p:cNvPr>
                <p:cNvSpPr/>
                <p:nvPr/>
              </p:nvSpPr>
              <p:spPr>
                <a:xfrm>
                  <a:off x="10717609" y="408894"/>
                  <a:ext cx="199499" cy="208005"/>
                </a:xfrm>
                <a:custGeom>
                  <a:avLst/>
                  <a:gdLst>
                    <a:gd name="connsiteX0" fmla="*/ 109941 w 199499"/>
                    <a:gd name="connsiteY0" fmla="*/ 46705 h 208005"/>
                    <a:gd name="connsiteX1" fmla="*/ 184252 w 199499"/>
                    <a:gd name="connsiteY1" fmla="*/ 45902 h 208005"/>
                    <a:gd name="connsiteX2" fmla="*/ 199499 w 199499"/>
                    <a:gd name="connsiteY2" fmla="*/ 0 h 208005"/>
                    <a:gd name="connsiteX3" fmla="*/ 108176 w 199499"/>
                    <a:gd name="connsiteY3" fmla="*/ 0 h 208005"/>
                    <a:gd name="connsiteX4" fmla="*/ 38038 w 199499"/>
                    <a:gd name="connsiteY4" fmla="*/ 30976 h 208005"/>
                    <a:gd name="connsiteX5" fmla="*/ 26482 w 199499"/>
                    <a:gd name="connsiteY5" fmla="*/ 66125 h 208005"/>
                    <a:gd name="connsiteX6" fmla="*/ 50236 w 199499"/>
                    <a:gd name="connsiteY6" fmla="*/ 106731 h 208005"/>
                    <a:gd name="connsiteX7" fmla="*/ 109460 w 199499"/>
                    <a:gd name="connsiteY7" fmla="*/ 127757 h 208005"/>
                    <a:gd name="connsiteX8" fmla="*/ 124547 w 199499"/>
                    <a:gd name="connsiteY8" fmla="*/ 146695 h 208005"/>
                    <a:gd name="connsiteX9" fmla="*/ 97904 w 199499"/>
                    <a:gd name="connsiteY9" fmla="*/ 161301 h 208005"/>
                    <a:gd name="connsiteX10" fmla="*/ 15568 w 199499"/>
                    <a:gd name="connsiteY10" fmla="*/ 161301 h 208005"/>
                    <a:gd name="connsiteX11" fmla="*/ 0 w 199499"/>
                    <a:gd name="connsiteY11" fmla="*/ 208006 h 208005"/>
                    <a:gd name="connsiteX12" fmla="*/ 100953 w 199499"/>
                    <a:gd name="connsiteY12" fmla="*/ 208006 h 208005"/>
                    <a:gd name="connsiteX13" fmla="*/ 172054 w 199499"/>
                    <a:gd name="connsiteY13" fmla="*/ 175264 h 208005"/>
                    <a:gd name="connsiteX14" fmla="*/ 182968 w 199499"/>
                    <a:gd name="connsiteY14" fmla="*/ 137547 h 208005"/>
                    <a:gd name="connsiteX15" fmla="*/ 143646 w 199499"/>
                    <a:gd name="connsiteY15" fmla="*/ 88114 h 208005"/>
                    <a:gd name="connsiteX16" fmla="*/ 98225 w 199499"/>
                    <a:gd name="connsiteY16" fmla="*/ 76237 h 208005"/>
                    <a:gd name="connsiteX17" fmla="*/ 85064 w 199499"/>
                    <a:gd name="connsiteY17" fmla="*/ 59384 h 208005"/>
                    <a:gd name="connsiteX18" fmla="*/ 109781 w 199499"/>
                    <a:gd name="connsiteY18" fmla="*/ 46705 h 20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499" h="208005">
                      <a:moveTo>
                        <a:pt x="109941" y="46705"/>
                      </a:moveTo>
                      <a:cubicBezTo>
                        <a:pt x="131448" y="46705"/>
                        <a:pt x="184252" y="45902"/>
                        <a:pt x="184252" y="45902"/>
                      </a:cubicBezTo>
                      <a:lnTo>
                        <a:pt x="199499" y="0"/>
                      </a:lnTo>
                      <a:lnTo>
                        <a:pt x="108176" y="0"/>
                      </a:lnTo>
                      <a:cubicBezTo>
                        <a:pt x="65644" y="0"/>
                        <a:pt x="45742" y="21025"/>
                        <a:pt x="38038" y="30976"/>
                      </a:cubicBezTo>
                      <a:cubicBezTo>
                        <a:pt x="30334" y="40927"/>
                        <a:pt x="26322" y="52804"/>
                        <a:pt x="26482" y="66125"/>
                      </a:cubicBezTo>
                      <a:cubicBezTo>
                        <a:pt x="26482" y="84422"/>
                        <a:pt x="36273" y="98225"/>
                        <a:pt x="50236" y="106731"/>
                      </a:cubicBezTo>
                      <a:cubicBezTo>
                        <a:pt x="61150" y="113472"/>
                        <a:pt x="97904" y="124547"/>
                        <a:pt x="109460" y="127757"/>
                      </a:cubicBezTo>
                      <a:cubicBezTo>
                        <a:pt x="121497" y="131288"/>
                        <a:pt x="125991" y="138670"/>
                        <a:pt x="124547" y="146695"/>
                      </a:cubicBezTo>
                      <a:cubicBezTo>
                        <a:pt x="123102" y="154720"/>
                        <a:pt x="112670" y="161301"/>
                        <a:pt x="97904" y="161301"/>
                      </a:cubicBezTo>
                      <a:lnTo>
                        <a:pt x="15568" y="161301"/>
                      </a:lnTo>
                      <a:lnTo>
                        <a:pt x="0" y="208006"/>
                      </a:lnTo>
                      <a:lnTo>
                        <a:pt x="100953" y="208006"/>
                      </a:lnTo>
                      <a:cubicBezTo>
                        <a:pt x="145893" y="208006"/>
                        <a:pt x="165313" y="185857"/>
                        <a:pt x="172054" y="175264"/>
                      </a:cubicBezTo>
                      <a:cubicBezTo>
                        <a:pt x="179437" y="163708"/>
                        <a:pt x="182968" y="150868"/>
                        <a:pt x="182968" y="137547"/>
                      </a:cubicBezTo>
                      <a:cubicBezTo>
                        <a:pt x="182968" y="114756"/>
                        <a:pt x="167239" y="95175"/>
                        <a:pt x="143646" y="88114"/>
                      </a:cubicBezTo>
                      <a:cubicBezTo>
                        <a:pt x="135782" y="85706"/>
                        <a:pt x="108015" y="78644"/>
                        <a:pt x="98225" y="76237"/>
                      </a:cubicBezTo>
                      <a:cubicBezTo>
                        <a:pt x="89237" y="73990"/>
                        <a:pt x="83620" y="67088"/>
                        <a:pt x="85064" y="59384"/>
                      </a:cubicBezTo>
                      <a:cubicBezTo>
                        <a:pt x="86669" y="51038"/>
                        <a:pt x="93570" y="46705"/>
                        <a:pt x="109781" y="46705"/>
                      </a:cubicBezTo>
                      <a:close/>
                    </a:path>
                  </a:pathLst>
                </a:custGeom>
                <a:solidFill>
                  <a:srgbClr val="30087B"/>
                </a:solidFill>
                <a:ln w="1598"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4C6E007-FA69-A074-B180-21E1AF5EDEF1}"/>
                    </a:ext>
                  </a:extLst>
                </p:cNvPr>
                <p:cNvSpPr/>
                <p:nvPr/>
              </p:nvSpPr>
              <p:spPr>
                <a:xfrm>
                  <a:off x="11085953" y="408894"/>
                  <a:ext cx="199499" cy="208005"/>
                </a:xfrm>
                <a:custGeom>
                  <a:avLst/>
                  <a:gdLst>
                    <a:gd name="connsiteX0" fmla="*/ 109941 w 199499"/>
                    <a:gd name="connsiteY0" fmla="*/ 46705 h 208005"/>
                    <a:gd name="connsiteX1" fmla="*/ 184252 w 199499"/>
                    <a:gd name="connsiteY1" fmla="*/ 45902 h 208005"/>
                    <a:gd name="connsiteX2" fmla="*/ 199499 w 199499"/>
                    <a:gd name="connsiteY2" fmla="*/ 0 h 208005"/>
                    <a:gd name="connsiteX3" fmla="*/ 108176 w 199499"/>
                    <a:gd name="connsiteY3" fmla="*/ 0 h 208005"/>
                    <a:gd name="connsiteX4" fmla="*/ 38038 w 199499"/>
                    <a:gd name="connsiteY4" fmla="*/ 30976 h 208005"/>
                    <a:gd name="connsiteX5" fmla="*/ 26482 w 199499"/>
                    <a:gd name="connsiteY5" fmla="*/ 66125 h 208005"/>
                    <a:gd name="connsiteX6" fmla="*/ 50236 w 199499"/>
                    <a:gd name="connsiteY6" fmla="*/ 106731 h 208005"/>
                    <a:gd name="connsiteX7" fmla="*/ 109460 w 199499"/>
                    <a:gd name="connsiteY7" fmla="*/ 127757 h 208005"/>
                    <a:gd name="connsiteX8" fmla="*/ 124547 w 199499"/>
                    <a:gd name="connsiteY8" fmla="*/ 146695 h 208005"/>
                    <a:gd name="connsiteX9" fmla="*/ 97904 w 199499"/>
                    <a:gd name="connsiteY9" fmla="*/ 161301 h 208005"/>
                    <a:gd name="connsiteX10" fmla="*/ 15568 w 199499"/>
                    <a:gd name="connsiteY10" fmla="*/ 161301 h 208005"/>
                    <a:gd name="connsiteX11" fmla="*/ 0 w 199499"/>
                    <a:gd name="connsiteY11" fmla="*/ 208006 h 208005"/>
                    <a:gd name="connsiteX12" fmla="*/ 100953 w 199499"/>
                    <a:gd name="connsiteY12" fmla="*/ 208006 h 208005"/>
                    <a:gd name="connsiteX13" fmla="*/ 172054 w 199499"/>
                    <a:gd name="connsiteY13" fmla="*/ 175264 h 208005"/>
                    <a:gd name="connsiteX14" fmla="*/ 182968 w 199499"/>
                    <a:gd name="connsiteY14" fmla="*/ 137547 h 208005"/>
                    <a:gd name="connsiteX15" fmla="*/ 143646 w 199499"/>
                    <a:gd name="connsiteY15" fmla="*/ 88114 h 208005"/>
                    <a:gd name="connsiteX16" fmla="*/ 98225 w 199499"/>
                    <a:gd name="connsiteY16" fmla="*/ 76237 h 208005"/>
                    <a:gd name="connsiteX17" fmla="*/ 85064 w 199499"/>
                    <a:gd name="connsiteY17" fmla="*/ 59384 h 208005"/>
                    <a:gd name="connsiteX18" fmla="*/ 109781 w 199499"/>
                    <a:gd name="connsiteY18" fmla="*/ 46705 h 20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499" h="208005">
                      <a:moveTo>
                        <a:pt x="109941" y="46705"/>
                      </a:moveTo>
                      <a:cubicBezTo>
                        <a:pt x="131448" y="46705"/>
                        <a:pt x="184252" y="45902"/>
                        <a:pt x="184252" y="45902"/>
                      </a:cubicBezTo>
                      <a:lnTo>
                        <a:pt x="199499" y="0"/>
                      </a:lnTo>
                      <a:lnTo>
                        <a:pt x="108176" y="0"/>
                      </a:lnTo>
                      <a:cubicBezTo>
                        <a:pt x="65644" y="0"/>
                        <a:pt x="45742" y="21025"/>
                        <a:pt x="38038" y="30976"/>
                      </a:cubicBezTo>
                      <a:cubicBezTo>
                        <a:pt x="30334" y="40927"/>
                        <a:pt x="26322" y="52804"/>
                        <a:pt x="26482" y="66125"/>
                      </a:cubicBezTo>
                      <a:cubicBezTo>
                        <a:pt x="26482" y="84422"/>
                        <a:pt x="36273" y="98225"/>
                        <a:pt x="50236" y="106731"/>
                      </a:cubicBezTo>
                      <a:cubicBezTo>
                        <a:pt x="61150" y="113472"/>
                        <a:pt x="97904" y="124547"/>
                        <a:pt x="109460" y="127757"/>
                      </a:cubicBezTo>
                      <a:cubicBezTo>
                        <a:pt x="121497" y="131288"/>
                        <a:pt x="125991" y="138670"/>
                        <a:pt x="124547" y="146695"/>
                      </a:cubicBezTo>
                      <a:cubicBezTo>
                        <a:pt x="122781" y="156325"/>
                        <a:pt x="112670" y="161301"/>
                        <a:pt x="97904" y="161301"/>
                      </a:cubicBezTo>
                      <a:lnTo>
                        <a:pt x="15568" y="161301"/>
                      </a:lnTo>
                      <a:lnTo>
                        <a:pt x="0" y="208006"/>
                      </a:lnTo>
                      <a:lnTo>
                        <a:pt x="100953" y="208006"/>
                      </a:lnTo>
                      <a:cubicBezTo>
                        <a:pt x="145893" y="208006"/>
                        <a:pt x="165313" y="185857"/>
                        <a:pt x="172054" y="175264"/>
                      </a:cubicBezTo>
                      <a:cubicBezTo>
                        <a:pt x="179437" y="163708"/>
                        <a:pt x="182968" y="150868"/>
                        <a:pt x="182968" y="137547"/>
                      </a:cubicBezTo>
                      <a:cubicBezTo>
                        <a:pt x="182968" y="114756"/>
                        <a:pt x="167239" y="95175"/>
                        <a:pt x="143646" y="88114"/>
                      </a:cubicBezTo>
                      <a:cubicBezTo>
                        <a:pt x="135782" y="85706"/>
                        <a:pt x="108015" y="78644"/>
                        <a:pt x="98225" y="76237"/>
                      </a:cubicBezTo>
                      <a:cubicBezTo>
                        <a:pt x="89237" y="73990"/>
                        <a:pt x="83620" y="67088"/>
                        <a:pt x="85064" y="59384"/>
                      </a:cubicBezTo>
                      <a:cubicBezTo>
                        <a:pt x="86669" y="51038"/>
                        <a:pt x="93570" y="46705"/>
                        <a:pt x="109781" y="46705"/>
                      </a:cubicBezTo>
                      <a:close/>
                    </a:path>
                  </a:pathLst>
                </a:custGeom>
                <a:solidFill>
                  <a:srgbClr val="30087B"/>
                </a:solidFill>
                <a:ln w="1598"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9326F4D9-5C45-9043-6A1C-BE0EC72472C5}"/>
                    </a:ext>
                  </a:extLst>
                </p:cNvPr>
                <p:cNvSpPr/>
                <p:nvPr/>
              </p:nvSpPr>
              <p:spPr>
                <a:xfrm>
                  <a:off x="10907955" y="404559"/>
                  <a:ext cx="195109" cy="212340"/>
                </a:xfrm>
                <a:custGeom>
                  <a:avLst/>
                  <a:gdLst>
                    <a:gd name="connsiteX0" fmla="*/ 102885 w 195109"/>
                    <a:gd name="connsiteY0" fmla="*/ 212341 h 212340"/>
                    <a:gd name="connsiteX1" fmla="*/ 5 w 195109"/>
                    <a:gd name="connsiteY1" fmla="*/ 120054 h 212340"/>
                    <a:gd name="connsiteX2" fmla="*/ 34833 w 195109"/>
                    <a:gd name="connsiteY2" fmla="*/ 33546 h 212340"/>
                    <a:gd name="connsiteX3" fmla="*/ 121663 w 195109"/>
                    <a:gd name="connsiteY3" fmla="*/ 1 h 212340"/>
                    <a:gd name="connsiteX4" fmla="*/ 186825 w 195109"/>
                    <a:gd name="connsiteY4" fmla="*/ 29212 h 212340"/>
                    <a:gd name="connsiteX5" fmla="*/ 171578 w 195109"/>
                    <a:gd name="connsiteY5" fmla="*/ 108980 h 212340"/>
                    <a:gd name="connsiteX6" fmla="*/ 101761 w 195109"/>
                    <a:gd name="connsiteY6" fmla="*/ 139314 h 212340"/>
                    <a:gd name="connsiteX7" fmla="*/ 62279 w 195109"/>
                    <a:gd name="connsiteY7" fmla="*/ 144289 h 212340"/>
                    <a:gd name="connsiteX8" fmla="*/ 112836 w 195109"/>
                    <a:gd name="connsiteY8" fmla="*/ 165475 h 212340"/>
                    <a:gd name="connsiteX9" fmla="*/ 178800 w 195109"/>
                    <a:gd name="connsiteY9" fmla="*/ 165475 h 212340"/>
                    <a:gd name="connsiteX10" fmla="*/ 163232 w 195109"/>
                    <a:gd name="connsiteY10" fmla="*/ 212180 h 212340"/>
                    <a:gd name="connsiteX11" fmla="*/ 103045 w 195109"/>
                    <a:gd name="connsiteY11" fmla="*/ 212180 h 212340"/>
                    <a:gd name="connsiteX12" fmla="*/ 56982 w 195109"/>
                    <a:gd name="connsiteY12" fmla="*/ 105770 h 212340"/>
                    <a:gd name="connsiteX13" fmla="*/ 77526 w 195109"/>
                    <a:gd name="connsiteY13" fmla="*/ 102881 h 212340"/>
                    <a:gd name="connsiteX14" fmla="*/ 134342 w 195109"/>
                    <a:gd name="connsiteY14" fmla="*/ 76399 h 212340"/>
                    <a:gd name="connsiteX15" fmla="*/ 131774 w 195109"/>
                    <a:gd name="connsiteY15" fmla="*/ 53287 h 212340"/>
                    <a:gd name="connsiteX16" fmla="*/ 78489 w 195109"/>
                    <a:gd name="connsiteY16" fmla="*/ 62435 h 212340"/>
                    <a:gd name="connsiteX17" fmla="*/ 57143 w 195109"/>
                    <a:gd name="connsiteY17" fmla="*/ 106091 h 21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109" h="212340">
                      <a:moveTo>
                        <a:pt x="102885" y="212341"/>
                      </a:moveTo>
                      <a:cubicBezTo>
                        <a:pt x="36759" y="208649"/>
                        <a:pt x="647" y="181685"/>
                        <a:pt x="5" y="120054"/>
                      </a:cubicBezTo>
                      <a:cubicBezTo>
                        <a:pt x="-316" y="84423"/>
                        <a:pt x="14129" y="53768"/>
                        <a:pt x="34833" y="33546"/>
                      </a:cubicBezTo>
                      <a:cubicBezTo>
                        <a:pt x="55217" y="13644"/>
                        <a:pt x="85551" y="-159"/>
                        <a:pt x="121663" y="1"/>
                      </a:cubicBezTo>
                      <a:cubicBezTo>
                        <a:pt x="160343" y="162"/>
                        <a:pt x="177356" y="14286"/>
                        <a:pt x="186825" y="29212"/>
                      </a:cubicBezTo>
                      <a:cubicBezTo>
                        <a:pt x="203677" y="56015"/>
                        <a:pt x="192924" y="91325"/>
                        <a:pt x="171578" y="108980"/>
                      </a:cubicBezTo>
                      <a:cubicBezTo>
                        <a:pt x="158578" y="119894"/>
                        <a:pt x="140602" y="132091"/>
                        <a:pt x="101761" y="139314"/>
                      </a:cubicBezTo>
                      <a:cubicBezTo>
                        <a:pt x="86193" y="142203"/>
                        <a:pt x="62279" y="144289"/>
                        <a:pt x="62279" y="144289"/>
                      </a:cubicBezTo>
                      <a:cubicBezTo>
                        <a:pt x="67094" y="154561"/>
                        <a:pt x="88600" y="165154"/>
                        <a:pt x="112836" y="165475"/>
                      </a:cubicBezTo>
                      <a:lnTo>
                        <a:pt x="178800" y="165475"/>
                      </a:lnTo>
                      <a:lnTo>
                        <a:pt x="163232" y="212180"/>
                      </a:lnTo>
                      <a:lnTo>
                        <a:pt x="103045" y="212180"/>
                      </a:lnTo>
                      <a:close/>
                      <a:moveTo>
                        <a:pt x="56982" y="105770"/>
                      </a:moveTo>
                      <a:cubicBezTo>
                        <a:pt x="56982" y="105770"/>
                        <a:pt x="64686" y="105449"/>
                        <a:pt x="77526" y="102881"/>
                      </a:cubicBezTo>
                      <a:cubicBezTo>
                        <a:pt x="89242" y="100473"/>
                        <a:pt x="124070" y="92930"/>
                        <a:pt x="134342" y="76399"/>
                      </a:cubicBezTo>
                      <a:cubicBezTo>
                        <a:pt x="144614" y="59867"/>
                        <a:pt x="137713" y="58262"/>
                        <a:pt x="131774" y="53287"/>
                      </a:cubicBezTo>
                      <a:cubicBezTo>
                        <a:pt x="122305" y="45101"/>
                        <a:pt x="97267" y="44459"/>
                        <a:pt x="78489" y="62435"/>
                      </a:cubicBezTo>
                      <a:cubicBezTo>
                        <a:pt x="55538" y="84423"/>
                        <a:pt x="57143" y="106091"/>
                        <a:pt x="57143" y="106091"/>
                      </a:cubicBezTo>
                      <a:close/>
                    </a:path>
                  </a:pathLst>
                </a:custGeom>
                <a:solidFill>
                  <a:srgbClr val="30087B"/>
                </a:solidFill>
                <a:ln w="1598" cap="flat">
                  <a:noFill/>
                  <a:prstDash val="solid"/>
                  <a:miter/>
                </a:ln>
              </p:spPr>
              <p:txBody>
                <a:bodyPr rtlCol="0" anchor="ctr"/>
                <a:lstStyle/>
                <a:p>
                  <a:endParaRPr lang="en-US"/>
                </a:p>
              </p:txBody>
            </p:sp>
          </p:grpSp>
          <p:grpSp>
            <p:nvGrpSpPr>
              <p:cNvPr id="135" name="Graphic 11">
                <a:extLst>
                  <a:ext uri="{FF2B5EF4-FFF2-40B4-BE49-F238E27FC236}">
                    <a16:creationId xmlns:a16="http://schemas.microsoft.com/office/drawing/2014/main" id="{B825AE75-0FC6-6048-05F1-A308EE6A9A83}"/>
                  </a:ext>
                </a:extLst>
              </p:cNvPr>
              <p:cNvGrpSpPr/>
              <p:nvPr/>
            </p:nvGrpSpPr>
            <p:grpSpPr>
              <a:xfrm>
                <a:off x="10312009" y="358805"/>
                <a:ext cx="355008" cy="312146"/>
                <a:chOff x="10312009" y="358805"/>
                <a:chExt cx="355008" cy="312146"/>
              </a:xfrm>
            </p:grpSpPr>
            <p:sp>
              <p:nvSpPr>
                <p:cNvPr id="136" name="Freeform: Shape 135">
                  <a:extLst>
                    <a:ext uri="{FF2B5EF4-FFF2-40B4-BE49-F238E27FC236}">
                      <a16:creationId xmlns:a16="http://schemas.microsoft.com/office/drawing/2014/main" id="{8F3877F8-1706-9323-7372-DA63E758A884}"/>
                    </a:ext>
                  </a:extLst>
                </p:cNvPr>
                <p:cNvSpPr/>
                <p:nvPr/>
              </p:nvSpPr>
              <p:spPr>
                <a:xfrm>
                  <a:off x="10489702" y="358805"/>
                  <a:ext cx="134450" cy="134510"/>
                </a:xfrm>
                <a:custGeom>
                  <a:avLst/>
                  <a:gdLst>
                    <a:gd name="connsiteX0" fmla="*/ 89719 w 134450"/>
                    <a:gd name="connsiteY0" fmla="*/ 134511 h 134510"/>
                    <a:gd name="connsiteX1" fmla="*/ 47989 w 134450"/>
                    <a:gd name="connsiteY1" fmla="*/ 86522 h 134510"/>
                    <a:gd name="connsiteX2" fmla="*/ 0 w 134450"/>
                    <a:gd name="connsiteY2" fmla="*/ 44792 h 134510"/>
                    <a:gd name="connsiteX3" fmla="*/ 125510 w 134450"/>
                    <a:gd name="connsiteY3" fmla="*/ 8841 h 134510"/>
                    <a:gd name="connsiteX4" fmla="*/ 89558 w 134450"/>
                    <a:gd name="connsiteY4" fmla="*/ 134511 h 134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50" h="134510">
                      <a:moveTo>
                        <a:pt x="89719" y="134511"/>
                      </a:moveTo>
                      <a:cubicBezTo>
                        <a:pt x="77842" y="118461"/>
                        <a:pt x="63878" y="102251"/>
                        <a:pt x="47989" y="86522"/>
                      </a:cubicBezTo>
                      <a:cubicBezTo>
                        <a:pt x="32100" y="70793"/>
                        <a:pt x="15889" y="56669"/>
                        <a:pt x="0" y="44792"/>
                      </a:cubicBezTo>
                      <a:cubicBezTo>
                        <a:pt x="54088" y="4507"/>
                        <a:pt x="105126" y="-11543"/>
                        <a:pt x="125510" y="8841"/>
                      </a:cubicBezTo>
                      <a:cubicBezTo>
                        <a:pt x="146053" y="29384"/>
                        <a:pt x="130004" y="80262"/>
                        <a:pt x="89558" y="134511"/>
                      </a:cubicBezTo>
                      <a:close/>
                    </a:path>
                  </a:pathLst>
                </a:custGeom>
                <a:gradFill>
                  <a:gsLst>
                    <a:gs pos="0">
                      <a:srgbClr val="16023D"/>
                    </a:gs>
                    <a:gs pos="10000">
                      <a:srgbClr val="270953"/>
                    </a:gs>
                    <a:gs pos="100000">
                      <a:srgbClr val="AA96E8"/>
                    </a:gs>
                  </a:gsLst>
                  <a:lin ang="7928481" scaled="1"/>
                </a:gradFill>
                <a:ln w="1598"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B8CA795A-393F-CF72-9F30-E23AF08EE98B}"/>
                    </a:ext>
                  </a:extLst>
                </p:cNvPr>
                <p:cNvSpPr/>
                <p:nvPr/>
              </p:nvSpPr>
              <p:spPr>
                <a:xfrm>
                  <a:off x="10312009" y="359097"/>
                  <a:ext cx="83801" cy="182689"/>
                </a:xfrm>
                <a:custGeom>
                  <a:avLst/>
                  <a:gdLst>
                    <a:gd name="connsiteX0" fmla="*/ 6763 w 83801"/>
                    <a:gd name="connsiteY0" fmla="*/ 182690 h 182689"/>
                    <a:gd name="connsiteX1" fmla="*/ 52023 w 83801"/>
                    <a:gd name="connsiteY1" fmla="*/ 8549 h 182689"/>
                    <a:gd name="connsiteX2" fmla="*/ 83802 w 83801"/>
                    <a:gd name="connsiteY2" fmla="*/ 203 h 182689"/>
                    <a:gd name="connsiteX3" fmla="*/ 62937 w 83801"/>
                    <a:gd name="connsiteY3" fmla="*/ 18500 h 182689"/>
                    <a:gd name="connsiteX4" fmla="*/ 44801 w 83801"/>
                    <a:gd name="connsiteY4" fmla="*/ 39365 h 182689"/>
                    <a:gd name="connsiteX5" fmla="*/ 6763 w 83801"/>
                    <a:gd name="connsiteY5" fmla="*/ 182690 h 18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1" h="182689">
                      <a:moveTo>
                        <a:pt x="6763" y="182690"/>
                      </a:moveTo>
                      <a:cubicBezTo>
                        <a:pt x="-10250" y="122824"/>
                        <a:pt x="4837" y="55736"/>
                        <a:pt x="52023" y="8549"/>
                      </a:cubicBezTo>
                      <a:cubicBezTo>
                        <a:pt x="58925" y="1648"/>
                        <a:pt x="70801" y="-760"/>
                        <a:pt x="83802" y="203"/>
                      </a:cubicBezTo>
                      <a:cubicBezTo>
                        <a:pt x="76579" y="5660"/>
                        <a:pt x="69517" y="11759"/>
                        <a:pt x="62937" y="18500"/>
                      </a:cubicBezTo>
                      <a:cubicBezTo>
                        <a:pt x="56357" y="25080"/>
                        <a:pt x="50258" y="32142"/>
                        <a:pt x="44801" y="39365"/>
                      </a:cubicBezTo>
                      <a:cubicBezTo>
                        <a:pt x="11899" y="82539"/>
                        <a:pt x="182" y="134540"/>
                        <a:pt x="6763" y="182690"/>
                      </a:cubicBezTo>
                      <a:close/>
                    </a:path>
                  </a:pathLst>
                </a:custGeom>
                <a:gradFill>
                  <a:gsLst>
                    <a:gs pos="0">
                      <a:srgbClr val="3C269D"/>
                    </a:gs>
                    <a:gs pos="50000">
                      <a:srgbClr val="8670CD"/>
                    </a:gs>
                    <a:gs pos="100000">
                      <a:srgbClr val="D1BAFE"/>
                    </a:gs>
                  </a:gsLst>
                  <a:lin ang="6380163" scaled="1"/>
                </a:gradFill>
                <a:ln w="1598"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F8AFB51D-0BEB-868A-ED7E-7D525F0AC98D}"/>
                    </a:ext>
                  </a:extLst>
                </p:cNvPr>
                <p:cNvSpPr/>
                <p:nvPr/>
              </p:nvSpPr>
              <p:spPr>
                <a:xfrm>
                  <a:off x="10324672" y="364115"/>
                  <a:ext cx="119447" cy="237055"/>
                </a:xfrm>
                <a:custGeom>
                  <a:avLst/>
                  <a:gdLst>
                    <a:gd name="connsiteX0" fmla="*/ 23791 w 119447"/>
                    <a:gd name="connsiteY0" fmla="*/ 236895 h 237055"/>
                    <a:gd name="connsiteX1" fmla="*/ 23630 w 119447"/>
                    <a:gd name="connsiteY1" fmla="*/ 236574 h 237055"/>
                    <a:gd name="connsiteX2" fmla="*/ 37 w 119447"/>
                    <a:gd name="connsiteY2" fmla="*/ 169326 h 237055"/>
                    <a:gd name="connsiteX3" fmla="*/ 35828 w 119447"/>
                    <a:gd name="connsiteY3" fmla="*/ 57940 h 237055"/>
                    <a:gd name="connsiteX4" fmla="*/ 62150 w 119447"/>
                    <a:gd name="connsiteY4" fmla="*/ 26322 h 237055"/>
                    <a:gd name="connsiteX5" fmla="*/ 93768 w 119447"/>
                    <a:gd name="connsiteY5" fmla="*/ 0 h 237055"/>
                    <a:gd name="connsiteX6" fmla="*/ 119448 w 119447"/>
                    <a:gd name="connsiteY6" fmla="*/ 10914 h 237055"/>
                    <a:gd name="connsiteX7" fmla="*/ 79484 w 119447"/>
                    <a:gd name="connsiteY7" fmla="*/ 43816 h 237055"/>
                    <a:gd name="connsiteX8" fmla="*/ 46582 w 119447"/>
                    <a:gd name="connsiteY8" fmla="*/ 83780 h 237055"/>
                    <a:gd name="connsiteX9" fmla="*/ 23630 w 119447"/>
                    <a:gd name="connsiteY9" fmla="*/ 237056 h 23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447" h="237055">
                      <a:moveTo>
                        <a:pt x="23791" y="236895"/>
                      </a:moveTo>
                      <a:cubicBezTo>
                        <a:pt x="23791" y="236895"/>
                        <a:pt x="23791" y="236735"/>
                        <a:pt x="23630" y="236574"/>
                      </a:cubicBezTo>
                      <a:cubicBezTo>
                        <a:pt x="8865" y="217315"/>
                        <a:pt x="519" y="193721"/>
                        <a:pt x="37" y="169326"/>
                      </a:cubicBezTo>
                      <a:cubicBezTo>
                        <a:pt x="-765" y="132572"/>
                        <a:pt x="11433" y="93089"/>
                        <a:pt x="35828" y="57940"/>
                      </a:cubicBezTo>
                      <a:cubicBezTo>
                        <a:pt x="43372" y="46866"/>
                        <a:pt x="52199" y="36273"/>
                        <a:pt x="62150" y="26322"/>
                      </a:cubicBezTo>
                      <a:cubicBezTo>
                        <a:pt x="72101" y="16371"/>
                        <a:pt x="82694" y="7543"/>
                        <a:pt x="93768" y="0"/>
                      </a:cubicBezTo>
                      <a:cubicBezTo>
                        <a:pt x="101954" y="2728"/>
                        <a:pt x="110460" y="6259"/>
                        <a:pt x="119448" y="10914"/>
                      </a:cubicBezTo>
                      <a:cubicBezTo>
                        <a:pt x="105645" y="20062"/>
                        <a:pt x="92163" y="31137"/>
                        <a:pt x="79484" y="43816"/>
                      </a:cubicBezTo>
                      <a:cubicBezTo>
                        <a:pt x="66804" y="56495"/>
                        <a:pt x="55891" y="69977"/>
                        <a:pt x="46582" y="83780"/>
                      </a:cubicBezTo>
                      <a:cubicBezTo>
                        <a:pt x="10951" y="137387"/>
                        <a:pt x="1642" y="196610"/>
                        <a:pt x="23630" y="237056"/>
                      </a:cubicBezTo>
                      <a:close/>
                    </a:path>
                  </a:pathLst>
                </a:custGeom>
                <a:gradFill>
                  <a:gsLst>
                    <a:gs pos="0">
                      <a:srgbClr val="3C269D"/>
                    </a:gs>
                    <a:gs pos="50000">
                      <a:srgbClr val="8670CD"/>
                    </a:gs>
                    <a:gs pos="100000">
                      <a:srgbClr val="D1BAFE"/>
                    </a:gs>
                  </a:gsLst>
                  <a:lin ang="6381133" scaled="1"/>
                </a:gradFill>
                <a:ln w="1598"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9EEFE9BF-CE91-E1F0-6F92-306216867D8C}"/>
                    </a:ext>
                  </a:extLst>
                </p:cNvPr>
                <p:cNvSpPr/>
                <p:nvPr/>
              </p:nvSpPr>
              <p:spPr>
                <a:xfrm>
                  <a:off x="10344885" y="384658"/>
                  <a:ext cx="144816" cy="234166"/>
                </a:xfrm>
                <a:custGeom>
                  <a:avLst/>
                  <a:gdLst>
                    <a:gd name="connsiteX0" fmla="*/ 19146 w 144816"/>
                    <a:gd name="connsiteY0" fmla="*/ 234167 h 234166"/>
                    <a:gd name="connsiteX1" fmla="*/ 36159 w 144816"/>
                    <a:gd name="connsiteY1" fmla="*/ 80731 h 234166"/>
                    <a:gd name="connsiteX2" fmla="*/ 72753 w 144816"/>
                    <a:gd name="connsiteY2" fmla="*/ 36594 h 234166"/>
                    <a:gd name="connsiteX3" fmla="*/ 116890 w 144816"/>
                    <a:gd name="connsiteY3" fmla="*/ 0 h 234166"/>
                    <a:gd name="connsiteX4" fmla="*/ 144816 w 144816"/>
                    <a:gd name="connsiteY4" fmla="*/ 18778 h 234166"/>
                    <a:gd name="connsiteX5" fmla="*/ 96827 w 144816"/>
                    <a:gd name="connsiteY5" fmla="*/ 60508 h 234166"/>
                    <a:gd name="connsiteX6" fmla="*/ 55098 w 144816"/>
                    <a:gd name="connsiteY6" fmla="*/ 108497 h 234166"/>
                    <a:gd name="connsiteX7" fmla="*/ 19146 w 144816"/>
                    <a:gd name="connsiteY7" fmla="*/ 234006 h 23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816" h="234166">
                      <a:moveTo>
                        <a:pt x="19146" y="234167"/>
                      </a:moveTo>
                      <a:cubicBezTo>
                        <a:pt x="-12472" y="202549"/>
                        <a:pt x="-3644" y="139954"/>
                        <a:pt x="36159" y="80731"/>
                      </a:cubicBezTo>
                      <a:cubicBezTo>
                        <a:pt x="46431" y="65644"/>
                        <a:pt x="58629" y="50717"/>
                        <a:pt x="72753" y="36594"/>
                      </a:cubicBezTo>
                      <a:cubicBezTo>
                        <a:pt x="86877" y="22470"/>
                        <a:pt x="101803" y="10272"/>
                        <a:pt x="116890" y="0"/>
                      </a:cubicBezTo>
                      <a:cubicBezTo>
                        <a:pt x="126038" y="5457"/>
                        <a:pt x="135347" y="11716"/>
                        <a:pt x="144816" y="18778"/>
                      </a:cubicBezTo>
                      <a:cubicBezTo>
                        <a:pt x="128767" y="30655"/>
                        <a:pt x="112556" y="44619"/>
                        <a:pt x="96827" y="60508"/>
                      </a:cubicBezTo>
                      <a:cubicBezTo>
                        <a:pt x="81099" y="76397"/>
                        <a:pt x="66975" y="92607"/>
                        <a:pt x="55098" y="108497"/>
                      </a:cubicBezTo>
                      <a:cubicBezTo>
                        <a:pt x="14813" y="162585"/>
                        <a:pt x="-1237" y="213623"/>
                        <a:pt x="19146" y="234006"/>
                      </a:cubicBezTo>
                      <a:close/>
                    </a:path>
                  </a:pathLst>
                </a:custGeom>
                <a:gradFill>
                  <a:gsLst>
                    <a:gs pos="0">
                      <a:srgbClr val="3C269D"/>
                    </a:gs>
                    <a:gs pos="50000">
                      <a:srgbClr val="8670CD"/>
                    </a:gs>
                    <a:gs pos="100000">
                      <a:srgbClr val="D1BAFE"/>
                    </a:gs>
                  </a:gsLst>
                  <a:lin ang="6380647" scaled="1"/>
                </a:gradFill>
                <a:ln w="1598"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9C86E94D-E2C8-34CF-DC55-3C0067B26068}"/>
                    </a:ext>
                  </a:extLst>
                </p:cNvPr>
                <p:cNvSpPr/>
                <p:nvPr/>
              </p:nvSpPr>
              <p:spPr>
                <a:xfrm>
                  <a:off x="10364032" y="493316"/>
                  <a:ext cx="234166" cy="144932"/>
                </a:xfrm>
                <a:custGeom>
                  <a:avLst/>
                  <a:gdLst>
                    <a:gd name="connsiteX0" fmla="*/ 197573 w 234166"/>
                    <a:gd name="connsiteY0" fmla="*/ 72064 h 144932"/>
                    <a:gd name="connsiteX1" fmla="*/ 153436 w 234166"/>
                    <a:gd name="connsiteY1" fmla="*/ 108657 h 144932"/>
                    <a:gd name="connsiteX2" fmla="*/ 0 w 234166"/>
                    <a:gd name="connsiteY2" fmla="*/ 125670 h 144932"/>
                    <a:gd name="connsiteX3" fmla="*/ 125670 w 234166"/>
                    <a:gd name="connsiteY3" fmla="*/ 89719 h 144932"/>
                    <a:gd name="connsiteX4" fmla="*/ 173659 w 234166"/>
                    <a:gd name="connsiteY4" fmla="*/ 47989 h 144932"/>
                    <a:gd name="connsiteX5" fmla="*/ 215389 w 234166"/>
                    <a:gd name="connsiteY5" fmla="*/ 0 h 144932"/>
                    <a:gd name="connsiteX6" fmla="*/ 234167 w 234166"/>
                    <a:gd name="connsiteY6" fmla="*/ 27927 h 144932"/>
                    <a:gd name="connsiteX7" fmla="*/ 197573 w 234166"/>
                    <a:gd name="connsiteY7" fmla="*/ 72064 h 14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166" h="144932">
                      <a:moveTo>
                        <a:pt x="197573" y="72064"/>
                      </a:moveTo>
                      <a:cubicBezTo>
                        <a:pt x="183449" y="86188"/>
                        <a:pt x="168523" y="98385"/>
                        <a:pt x="153436" y="108657"/>
                      </a:cubicBezTo>
                      <a:cubicBezTo>
                        <a:pt x="94212" y="148621"/>
                        <a:pt x="31618" y="157449"/>
                        <a:pt x="0" y="125670"/>
                      </a:cubicBezTo>
                      <a:cubicBezTo>
                        <a:pt x="20544" y="146214"/>
                        <a:pt x="71422" y="130164"/>
                        <a:pt x="125670" y="89719"/>
                      </a:cubicBezTo>
                      <a:cubicBezTo>
                        <a:pt x="141559" y="77842"/>
                        <a:pt x="157930" y="63878"/>
                        <a:pt x="173659" y="47989"/>
                      </a:cubicBezTo>
                      <a:cubicBezTo>
                        <a:pt x="189388" y="32100"/>
                        <a:pt x="203512" y="15889"/>
                        <a:pt x="215389" y="0"/>
                      </a:cubicBezTo>
                      <a:cubicBezTo>
                        <a:pt x="222451" y="9469"/>
                        <a:pt x="228710" y="18778"/>
                        <a:pt x="234167" y="27927"/>
                      </a:cubicBezTo>
                      <a:cubicBezTo>
                        <a:pt x="223895" y="43014"/>
                        <a:pt x="211697" y="57940"/>
                        <a:pt x="197573" y="72064"/>
                      </a:cubicBezTo>
                      <a:close/>
                    </a:path>
                  </a:pathLst>
                </a:custGeom>
                <a:gradFill>
                  <a:gsLst>
                    <a:gs pos="0">
                      <a:srgbClr val="3C269D"/>
                    </a:gs>
                    <a:gs pos="50000">
                      <a:srgbClr val="8670CD"/>
                    </a:gs>
                    <a:gs pos="100000">
                      <a:srgbClr val="D1BAFE"/>
                    </a:gs>
                  </a:gsLst>
                  <a:lin ang="19777187" scaled="1"/>
                </a:gradFill>
                <a:ln w="1598"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821B0D78-32A5-A790-AD24-5E375BBECC52}"/>
                    </a:ext>
                  </a:extLst>
                </p:cNvPr>
                <p:cNvSpPr/>
                <p:nvPr/>
              </p:nvSpPr>
              <p:spPr>
                <a:xfrm>
                  <a:off x="10381686" y="538576"/>
                  <a:ext cx="236895" cy="119608"/>
                </a:xfrm>
                <a:custGeom>
                  <a:avLst/>
                  <a:gdLst>
                    <a:gd name="connsiteX0" fmla="*/ 210734 w 236895"/>
                    <a:gd name="connsiteY0" fmla="*/ 57458 h 119608"/>
                    <a:gd name="connsiteX1" fmla="*/ 179116 w 236895"/>
                    <a:gd name="connsiteY1" fmla="*/ 83780 h 119608"/>
                    <a:gd name="connsiteX2" fmla="*/ 67730 w 236895"/>
                    <a:gd name="connsiteY2" fmla="*/ 119571 h 119608"/>
                    <a:gd name="connsiteX3" fmla="*/ 321 w 236895"/>
                    <a:gd name="connsiteY3" fmla="*/ 95978 h 119608"/>
                    <a:gd name="connsiteX4" fmla="*/ 0 w 236895"/>
                    <a:gd name="connsiteY4" fmla="*/ 95978 h 119608"/>
                    <a:gd name="connsiteX5" fmla="*/ 153115 w 236895"/>
                    <a:gd name="connsiteY5" fmla="*/ 72866 h 119608"/>
                    <a:gd name="connsiteX6" fmla="*/ 193079 w 236895"/>
                    <a:gd name="connsiteY6" fmla="*/ 39964 h 119608"/>
                    <a:gd name="connsiteX7" fmla="*/ 225981 w 236895"/>
                    <a:gd name="connsiteY7" fmla="*/ 0 h 119608"/>
                    <a:gd name="connsiteX8" fmla="*/ 236895 w 236895"/>
                    <a:gd name="connsiteY8" fmla="*/ 25680 h 119608"/>
                    <a:gd name="connsiteX9" fmla="*/ 210574 w 236895"/>
                    <a:gd name="connsiteY9" fmla="*/ 57298 h 1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895" h="119608">
                      <a:moveTo>
                        <a:pt x="210734" y="57458"/>
                      </a:moveTo>
                      <a:cubicBezTo>
                        <a:pt x="200783" y="67409"/>
                        <a:pt x="190190" y="76237"/>
                        <a:pt x="179116" y="83780"/>
                      </a:cubicBezTo>
                      <a:cubicBezTo>
                        <a:pt x="143967" y="108176"/>
                        <a:pt x="104484" y="120374"/>
                        <a:pt x="67730" y="119571"/>
                      </a:cubicBezTo>
                      <a:cubicBezTo>
                        <a:pt x="43335" y="119090"/>
                        <a:pt x="19741" y="110744"/>
                        <a:pt x="321" y="95978"/>
                      </a:cubicBezTo>
                      <a:lnTo>
                        <a:pt x="0" y="95978"/>
                      </a:lnTo>
                      <a:cubicBezTo>
                        <a:pt x="40285" y="117645"/>
                        <a:pt x="99669" y="108497"/>
                        <a:pt x="153115" y="72866"/>
                      </a:cubicBezTo>
                      <a:cubicBezTo>
                        <a:pt x="166918" y="63718"/>
                        <a:pt x="180400" y="52643"/>
                        <a:pt x="193079" y="39964"/>
                      </a:cubicBezTo>
                      <a:cubicBezTo>
                        <a:pt x="205759" y="27285"/>
                        <a:pt x="216673" y="13803"/>
                        <a:pt x="225981" y="0"/>
                      </a:cubicBezTo>
                      <a:cubicBezTo>
                        <a:pt x="230475" y="8988"/>
                        <a:pt x="234167" y="17655"/>
                        <a:pt x="236895" y="25680"/>
                      </a:cubicBezTo>
                      <a:cubicBezTo>
                        <a:pt x="229352" y="36754"/>
                        <a:pt x="220525" y="47347"/>
                        <a:pt x="210574" y="57298"/>
                      </a:cubicBezTo>
                      <a:close/>
                    </a:path>
                  </a:pathLst>
                </a:custGeom>
                <a:gradFill>
                  <a:gsLst>
                    <a:gs pos="0">
                      <a:srgbClr val="3C269D"/>
                    </a:gs>
                    <a:gs pos="50000">
                      <a:srgbClr val="8670CD"/>
                    </a:gs>
                    <a:gs pos="100000">
                      <a:srgbClr val="D1BAFE"/>
                    </a:gs>
                  </a:gsLst>
                  <a:lin ang="19777927" scaled="1"/>
                </a:gradFill>
                <a:ln w="1598"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F62B44B2-2ADC-7B56-1B7B-BCF0AE41D224}"/>
                    </a:ext>
                  </a:extLst>
                </p:cNvPr>
                <p:cNvSpPr/>
                <p:nvPr/>
              </p:nvSpPr>
              <p:spPr>
                <a:xfrm>
                  <a:off x="10579099" y="367485"/>
                  <a:ext cx="87917" cy="250537"/>
                </a:xfrm>
                <a:custGeom>
                  <a:avLst/>
                  <a:gdLst>
                    <a:gd name="connsiteX0" fmla="*/ 81373 w 87917"/>
                    <a:gd name="connsiteY0" fmla="*/ 77360 h 250537"/>
                    <a:gd name="connsiteX1" fmla="*/ 69014 w 87917"/>
                    <a:gd name="connsiteY1" fmla="*/ 45742 h 250537"/>
                    <a:gd name="connsiteX2" fmla="*/ 51680 w 87917"/>
                    <a:gd name="connsiteY2" fmla="*/ 17976 h 250537"/>
                    <a:gd name="connsiteX3" fmla="*/ 35952 w 87917"/>
                    <a:gd name="connsiteY3" fmla="*/ 0 h 250537"/>
                    <a:gd name="connsiteX4" fmla="*/ 0 w 87917"/>
                    <a:gd name="connsiteY4" fmla="*/ 125670 h 250537"/>
                    <a:gd name="connsiteX5" fmla="*/ 18778 w 87917"/>
                    <a:gd name="connsiteY5" fmla="*/ 153597 h 250537"/>
                    <a:gd name="connsiteX6" fmla="*/ 28569 w 87917"/>
                    <a:gd name="connsiteY6" fmla="*/ 171252 h 250537"/>
                    <a:gd name="connsiteX7" fmla="*/ 39483 w 87917"/>
                    <a:gd name="connsiteY7" fmla="*/ 196931 h 250537"/>
                    <a:gd name="connsiteX8" fmla="*/ 44298 w 87917"/>
                    <a:gd name="connsiteY8" fmla="*/ 217636 h 250537"/>
                    <a:gd name="connsiteX9" fmla="*/ 44298 w 87917"/>
                    <a:gd name="connsiteY9" fmla="*/ 217636 h 250537"/>
                    <a:gd name="connsiteX10" fmla="*/ 36594 w 87917"/>
                    <a:gd name="connsiteY10" fmla="*/ 250538 h 250537"/>
                    <a:gd name="connsiteX11" fmla="*/ 36594 w 87917"/>
                    <a:gd name="connsiteY11" fmla="*/ 250538 h 250537"/>
                    <a:gd name="connsiteX12" fmla="*/ 81212 w 87917"/>
                    <a:gd name="connsiteY12" fmla="*/ 77200 h 25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917" h="250537">
                      <a:moveTo>
                        <a:pt x="81373" y="77360"/>
                      </a:moveTo>
                      <a:cubicBezTo>
                        <a:pt x="78323" y="66607"/>
                        <a:pt x="74311" y="56014"/>
                        <a:pt x="69014" y="45742"/>
                      </a:cubicBezTo>
                      <a:cubicBezTo>
                        <a:pt x="64199" y="36112"/>
                        <a:pt x="58421" y="26803"/>
                        <a:pt x="51680" y="17976"/>
                      </a:cubicBezTo>
                      <a:cubicBezTo>
                        <a:pt x="47026" y="11716"/>
                        <a:pt x="41730" y="5778"/>
                        <a:pt x="35952" y="0"/>
                      </a:cubicBezTo>
                      <a:cubicBezTo>
                        <a:pt x="56495" y="20544"/>
                        <a:pt x="40446" y="71422"/>
                        <a:pt x="0" y="125670"/>
                      </a:cubicBezTo>
                      <a:cubicBezTo>
                        <a:pt x="7062" y="135140"/>
                        <a:pt x="13321" y="144448"/>
                        <a:pt x="18778" y="153597"/>
                      </a:cubicBezTo>
                      <a:cubicBezTo>
                        <a:pt x="22470" y="159535"/>
                        <a:pt x="25680" y="165474"/>
                        <a:pt x="28569" y="171252"/>
                      </a:cubicBezTo>
                      <a:cubicBezTo>
                        <a:pt x="33063" y="180240"/>
                        <a:pt x="36754" y="188906"/>
                        <a:pt x="39483" y="196931"/>
                      </a:cubicBezTo>
                      <a:cubicBezTo>
                        <a:pt x="41890" y="204314"/>
                        <a:pt x="43495" y="211216"/>
                        <a:pt x="44298" y="217636"/>
                      </a:cubicBezTo>
                      <a:cubicBezTo>
                        <a:pt x="44298" y="217636"/>
                        <a:pt x="44298" y="217636"/>
                        <a:pt x="44298" y="217636"/>
                      </a:cubicBezTo>
                      <a:cubicBezTo>
                        <a:pt x="47026" y="238019"/>
                        <a:pt x="39804" y="247328"/>
                        <a:pt x="36594" y="250538"/>
                      </a:cubicBezTo>
                      <a:cubicBezTo>
                        <a:pt x="36594" y="250538"/>
                        <a:pt x="36594" y="250538"/>
                        <a:pt x="36594" y="250538"/>
                      </a:cubicBezTo>
                      <a:cubicBezTo>
                        <a:pt x="83138" y="203512"/>
                        <a:pt x="98064" y="136745"/>
                        <a:pt x="81212" y="77200"/>
                      </a:cubicBezTo>
                      <a:close/>
                    </a:path>
                  </a:pathLst>
                </a:custGeom>
                <a:gradFill>
                  <a:gsLst>
                    <a:gs pos="0">
                      <a:srgbClr val="3C269D"/>
                    </a:gs>
                    <a:gs pos="50000">
                      <a:srgbClr val="8670CD"/>
                    </a:gs>
                    <a:gs pos="100000">
                      <a:srgbClr val="D1BAFE"/>
                    </a:gs>
                  </a:gsLst>
                  <a:lin ang="18613502" scaled="1"/>
                </a:gradFill>
                <a:ln w="1598"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2028D1DE-EBCE-4A1D-B7CB-CF32CF3BC84E}"/>
                    </a:ext>
                  </a:extLst>
                </p:cNvPr>
                <p:cNvSpPr/>
                <p:nvPr/>
              </p:nvSpPr>
              <p:spPr>
                <a:xfrm>
                  <a:off x="10441071" y="585281"/>
                  <a:ext cx="183090" cy="85670"/>
                </a:xfrm>
                <a:custGeom>
                  <a:avLst/>
                  <a:gdLst>
                    <a:gd name="connsiteX0" fmla="*/ 182487 w 183090"/>
                    <a:gd name="connsiteY0" fmla="*/ 0 h 85670"/>
                    <a:gd name="connsiteX1" fmla="*/ 182487 w 183090"/>
                    <a:gd name="connsiteY1" fmla="*/ 0 h 85670"/>
                    <a:gd name="connsiteX2" fmla="*/ 164190 w 183090"/>
                    <a:gd name="connsiteY2" fmla="*/ 21025 h 85670"/>
                    <a:gd name="connsiteX3" fmla="*/ 143325 w 183090"/>
                    <a:gd name="connsiteY3" fmla="*/ 39322 h 85670"/>
                    <a:gd name="connsiteX4" fmla="*/ 0 w 183090"/>
                    <a:gd name="connsiteY4" fmla="*/ 78965 h 85670"/>
                    <a:gd name="connsiteX5" fmla="*/ 173499 w 183090"/>
                    <a:gd name="connsiteY5" fmla="*/ 34347 h 85670"/>
                    <a:gd name="connsiteX6" fmla="*/ 174783 w 183090"/>
                    <a:gd name="connsiteY6" fmla="*/ 33063 h 85670"/>
                    <a:gd name="connsiteX7" fmla="*/ 182487 w 183090"/>
                    <a:gd name="connsiteY7" fmla="*/ 160 h 8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090" h="85670">
                      <a:moveTo>
                        <a:pt x="182487" y="0"/>
                      </a:moveTo>
                      <a:cubicBezTo>
                        <a:pt x="182487" y="0"/>
                        <a:pt x="182487" y="0"/>
                        <a:pt x="182487" y="0"/>
                      </a:cubicBezTo>
                      <a:cubicBezTo>
                        <a:pt x="177030" y="7222"/>
                        <a:pt x="170770" y="14445"/>
                        <a:pt x="164190" y="21025"/>
                      </a:cubicBezTo>
                      <a:cubicBezTo>
                        <a:pt x="157609" y="27606"/>
                        <a:pt x="150547" y="33705"/>
                        <a:pt x="143325" y="39322"/>
                      </a:cubicBezTo>
                      <a:cubicBezTo>
                        <a:pt x="100151" y="72224"/>
                        <a:pt x="47828" y="87793"/>
                        <a:pt x="0" y="78965"/>
                      </a:cubicBezTo>
                      <a:cubicBezTo>
                        <a:pt x="59705" y="95817"/>
                        <a:pt x="126312" y="80891"/>
                        <a:pt x="173499" y="34347"/>
                      </a:cubicBezTo>
                      <a:cubicBezTo>
                        <a:pt x="173499" y="34186"/>
                        <a:pt x="174141" y="33705"/>
                        <a:pt x="174783" y="33063"/>
                      </a:cubicBezTo>
                      <a:cubicBezTo>
                        <a:pt x="177993" y="29853"/>
                        <a:pt x="185215" y="20544"/>
                        <a:pt x="182487" y="160"/>
                      </a:cubicBezTo>
                      <a:close/>
                    </a:path>
                  </a:pathLst>
                </a:custGeom>
                <a:gradFill>
                  <a:gsLst>
                    <a:gs pos="0">
                      <a:srgbClr val="3C269D"/>
                    </a:gs>
                    <a:gs pos="50000">
                      <a:srgbClr val="8670CD"/>
                    </a:gs>
                    <a:gs pos="100000">
                      <a:srgbClr val="D1BAFE"/>
                    </a:gs>
                  </a:gsLst>
                  <a:lin ang="19777169" scaled="1"/>
                </a:gradFill>
                <a:ln w="1598" cap="flat">
                  <a:noFill/>
                  <a:prstDash val="solid"/>
                  <a:miter/>
                </a:ln>
              </p:spPr>
              <p:txBody>
                <a:bodyPr rtlCol="0" anchor="ctr"/>
                <a:lstStyle/>
                <a:p>
                  <a:endParaRPr lang="en-US"/>
                </a:p>
              </p:txBody>
            </p:sp>
          </p:grpSp>
        </p:grpSp>
        <p:grpSp>
          <p:nvGrpSpPr>
            <p:cNvPr id="120" name="Graphic 11">
              <a:extLst>
                <a:ext uri="{FF2B5EF4-FFF2-40B4-BE49-F238E27FC236}">
                  <a16:creationId xmlns:a16="http://schemas.microsoft.com/office/drawing/2014/main" id="{013860B2-4C7A-FEE9-10D7-174B915C6903}"/>
                </a:ext>
              </a:extLst>
            </p:cNvPr>
            <p:cNvGrpSpPr/>
            <p:nvPr/>
          </p:nvGrpSpPr>
          <p:grpSpPr>
            <a:xfrm>
              <a:off x="11328947" y="408733"/>
              <a:ext cx="461592" cy="208166"/>
              <a:chOff x="11328947" y="408733"/>
              <a:chExt cx="461592" cy="208166"/>
            </a:xfrm>
            <a:solidFill>
              <a:srgbClr val="000000"/>
            </a:solidFill>
          </p:grpSpPr>
          <p:sp>
            <p:nvSpPr>
              <p:cNvPr id="121" name="Freeform: Shape 120">
                <a:extLst>
                  <a:ext uri="{FF2B5EF4-FFF2-40B4-BE49-F238E27FC236}">
                    <a16:creationId xmlns:a16="http://schemas.microsoft.com/office/drawing/2014/main" id="{A31718CF-B7D1-F2B1-C779-BE2B9BC1DCD1}"/>
                  </a:ext>
                </a:extLst>
              </p:cNvPr>
              <p:cNvSpPr/>
              <p:nvPr/>
            </p:nvSpPr>
            <p:spPr>
              <a:xfrm>
                <a:off x="11328947" y="408894"/>
                <a:ext cx="67409" cy="91483"/>
              </a:xfrm>
              <a:custGeom>
                <a:avLst/>
                <a:gdLst>
                  <a:gd name="connsiteX0" fmla="*/ 34186 w 67409"/>
                  <a:gd name="connsiteY0" fmla="*/ 91323 h 91483"/>
                  <a:gd name="connsiteX1" fmla="*/ 14926 w 67409"/>
                  <a:gd name="connsiteY1" fmla="*/ 88595 h 91483"/>
                  <a:gd name="connsiteX2" fmla="*/ 0 w 67409"/>
                  <a:gd name="connsiteY2" fmla="*/ 80731 h 91483"/>
                  <a:gd name="connsiteX3" fmla="*/ 4012 w 67409"/>
                  <a:gd name="connsiteY3" fmla="*/ 71422 h 91483"/>
                  <a:gd name="connsiteX4" fmla="*/ 13000 w 67409"/>
                  <a:gd name="connsiteY4" fmla="*/ 76879 h 91483"/>
                  <a:gd name="connsiteX5" fmla="*/ 22791 w 67409"/>
                  <a:gd name="connsiteY5" fmla="*/ 80089 h 91483"/>
                  <a:gd name="connsiteX6" fmla="*/ 34186 w 67409"/>
                  <a:gd name="connsiteY6" fmla="*/ 81212 h 91483"/>
                  <a:gd name="connsiteX7" fmla="*/ 50396 w 67409"/>
                  <a:gd name="connsiteY7" fmla="*/ 77200 h 91483"/>
                  <a:gd name="connsiteX8" fmla="*/ 55693 w 67409"/>
                  <a:gd name="connsiteY8" fmla="*/ 66607 h 91483"/>
                  <a:gd name="connsiteX9" fmla="*/ 52001 w 67409"/>
                  <a:gd name="connsiteY9" fmla="*/ 57940 h 91483"/>
                  <a:gd name="connsiteX10" fmla="*/ 39162 w 67409"/>
                  <a:gd name="connsiteY10" fmla="*/ 53125 h 91483"/>
                  <a:gd name="connsiteX11" fmla="*/ 25680 w 67409"/>
                  <a:gd name="connsiteY11" fmla="*/ 50396 h 91483"/>
                  <a:gd name="connsiteX12" fmla="*/ 7383 w 67409"/>
                  <a:gd name="connsiteY12" fmla="*/ 42051 h 91483"/>
                  <a:gd name="connsiteX13" fmla="*/ 1444 w 67409"/>
                  <a:gd name="connsiteY13" fmla="*/ 26482 h 91483"/>
                  <a:gd name="connsiteX14" fmla="*/ 5617 w 67409"/>
                  <a:gd name="connsiteY14" fmla="*/ 12519 h 91483"/>
                  <a:gd name="connsiteX15" fmla="*/ 17334 w 67409"/>
                  <a:gd name="connsiteY15" fmla="*/ 3210 h 91483"/>
                  <a:gd name="connsiteX16" fmla="*/ 34989 w 67409"/>
                  <a:gd name="connsiteY16" fmla="*/ 0 h 91483"/>
                  <a:gd name="connsiteX17" fmla="*/ 52322 w 67409"/>
                  <a:gd name="connsiteY17" fmla="*/ 2728 h 91483"/>
                  <a:gd name="connsiteX18" fmla="*/ 65644 w 67409"/>
                  <a:gd name="connsiteY18" fmla="*/ 10914 h 91483"/>
                  <a:gd name="connsiteX19" fmla="*/ 61631 w 67409"/>
                  <a:gd name="connsiteY19" fmla="*/ 19902 h 91483"/>
                  <a:gd name="connsiteX20" fmla="*/ 49433 w 67409"/>
                  <a:gd name="connsiteY20" fmla="*/ 12358 h 91483"/>
                  <a:gd name="connsiteX21" fmla="*/ 34668 w 67409"/>
                  <a:gd name="connsiteY21" fmla="*/ 9951 h 91483"/>
                  <a:gd name="connsiteX22" fmla="*/ 18939 w 67409"/>
                  <a:gd name="connsiteY22" fmla="*/ 14284 h 91483"/>
                  <a:gd name="connsiteX23" fmla="*/ 13161 w 67409"/>
                  <a:gd name="connsiteY23" fmla="*/ 25840 h 91483"/>
                  <a:gd name="connsiteX24" fmla="*/ 16852 w 67409"/>
                  <a:gd name="connsiteY24" fmla="*/ 34989 h 91483"/>
                  <a:gd name="connsiteX25" fmla="*/ 29050 w 67409"/>
                  <a:gd name="connsiteY25" fmla="*/ 40125 h 91483"/>
                  <a:gd name="connsiteX26" fmla="*/ 42532 w 67409"/>
                  <a:gd name="connsiteY26" fmla="*/ 42853 h 91483"/>
                  <a:gd name="connsiteX27" fmla="*/ 61471 w 67409"/>
                  <a:gd name="connsiteY27" fmla="*/ 50878 h 91483"/>
                  <a:gd name="connsiteX28" fmla="*/ 67409 w 67409"/>
                  <a:gd name="connsiteY28" fmla="*/ 65965 h 91483"/>
                  <a:gd name="connsiteX29" fmla="*/ 63397 w 67409"/>
                  <a:gd name="connsiteY29" fmla="*/ 79286 h 91483"/>
                  <a:gd name="connsiteX30" fmla="*/ 51841 w 67409"/>
                  <a:gd name="connsiteY30" fmla="*/ 88274 h 91483"/>
                  <a:gd name="connsiteX31" fmla="*/ 34186 w 67409"/>
                  <a:gd name="connsiteY31" fmla="*/ 91484 h 9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409" h="91483">
                    <a:moveTo>
                      <a:pt x="34186" y="91323"/>
                    </a:moveTo>
                    <a:cubicBezTo>
                      <a:pt x="26964" y="91323"/>
                      <a:pt x="20544" y="90361"/>
                      <a:pt x="14926" y="88595"/>
                    </a:cubicBezTo>
                    <a:cubicBezTo>
                      <a:pt x="9148" y="86669"/>
                      <a:pt x="4173" y="84101"/>
                      <a:pt x="0" y="80731"/>
                    </a:cubicBezTo>
                    <a:lnTo>
                      <a:pt x="4012" y="71422"/>
                    </a:lnTo>
                    <a:cubicBezTo>
                      <a:pt x="6901" y="73669"/>
                      <a:pt x="9951" y="75434"/>
                      <a:pt x="13000" y="76879"/>
                    </a:cubicBezTo>
                    <a:cubicBezTo>
                      <a:pt x="16050" y="78323"/>
                      <a:pt x="19260" y="79447"/>
                      <a:pt x="22791" y="80089"/>
                    </a:cubicBezTo>
                    <a:cubicBezTo>
                      <a:pt x="26322" y="80731"/>
                      <a:pt x="30174" y="81212"/>
                      <a:pt x="34186" y="81212"/>
                    </a:cubicBezTo>
                    <a:cubicBezTo>
                      <a:pt x="41569" y="81212"/>
                      <a:pt x="46866" y="79928"/>
                      <a:pt x="50396" y="77200"/>
                    </a:cubicBezTo>
                    <a:cubicBezTo>
                      <a:pt x="53927" y="74471"/>
                      <a:pt x="55693" y="71101"/>
                      <a:pt x="55693" y="66607"/>
                    </a:cubicBezTo>
                    <a:cubicBezTo>
                      <a:pt x="55693" y="62113"/>
                      <a:pt x="54409" y="59866"/>
                      <a:pt x="52001" y="57940"/>
                    </a:cubicBezTo>
                    <a:cubicBezTo>
                      <a:pt x="49594" y="55853"/>
                      <a:pt x="45261" y="54248"/>
                      <a:pt x="39162" y="53125"/>
                    </a:cubicBezTo>
                    <a:lnTo>
                      <a:pt x="25680" y="50396"/>
                    </a:lnTo>
                    <a:cubicBezTo>
                      <a:pt x="17494" y="48791"/>
                      <a:pt x="11395" y="45902"/>
                      <a:pt x="7383" y="42051"/>
                    </a:cubicBezTo>
                    <a:cubicBezTo>
                      <a:pt x="3370" y="38199"/>
                      <a:pt x="1444" y="33063"/>
                      <a:pt x="1444" y="26482"/>
                    </a:cubicBezTo>
                    <a:cubicBezTo>
                      <a:pt x="1444" y="19902"/>
                      <a:pt x="2889" y="16531"/>
                      <a:pt x="5617" y="12519"/>
                    </a:cubicBezTo>
                    <a:cubicBezTo>
                      <a:pt x="8506" y="8506"/>
                      <a:pt x="12358" y="5457"/>
                      <a:pt x="17334" y="3210"/>
                    </a:cubicBezTo>
                    <a:cubicBezTo>
                      <a:pt x="22309" y="963"/>
                      <a:pt x="28248" y="0"/>
                      <a:pt x="34989" y="0"/>
                    </a:cubicBezTo>
                    <a:cubicBezTo>
                      <a:pt x="41730" y="0"/>
                      <a:pt x="47026" y="963"/>
                      <a:pt x="52322" y="2728"/>
                    </a:cubicBezTo>
                    <a:cubicBezTo>
                      <a:pt x="57619" y="4654"/>
                      <a:pt x="62113" y="7383"/>
                      <a:pt x="65644" y="10914"/>
                    </a:cubicBezTo>
                    <a:lnTo>
                      <a:pt x="61631" y="19902"/>
                    </a:lnTo>
                    <a:cubicBezTo>
                      <a:pt x="57779" y="16371"/>
                      <a:pt x="53767" y="13963"/>
                      <a:pt x="49433" y="12358"/>
                    </a:cubicBezTo>
                    <a:cubicBezTo>
                      <a:pt x="45100" y="10753"/>
                      <a:pt x="40125" y="9951"/>
                      <a:pt x="34668" y="9951"/>
                    </a:cubicBezTo>
                    <a:cubicBezTo>
                      <a:pt x="29211" y="9951"/>
                      <a:pt x="22791" y="11395"/>
                      <a:pt x="18939" y="14284"/>
                    </a:cubicBezTo>
                    <a:cubicBezTo>
                      <a:pt x="15087" y="17173"/>
                      <a:pt x="13161" y="21025"/>
                      <a:pt x="13161" y="25840"/>
                    </a:cubicBezTo>
                    <a:cubicBezTo>
                      <a:pt x="13161" y="30655"/>
                      <a:pt x="14445" y="32742"/>
                      <a:pt x="16852" y="34989"/>
                    </a:cubicBezTo>
                    <a:cubicBezTo>
                      <a:pt x="19260" y="37236"/>
                      <a:pt x="23272" y="39001"/>
                      <a:pt x="29050" y="40125"/>
                    </a:cubicBezTo>
                    <a:lnTo>
                      <a:pt x="42532" y="42853"/>
                    </a:lnTo>
                    <a:cubicBezTo>
                      <a:pt x="51199" y="44619"/>
                      <a:pt x="57458" y="47186"/>
                      <a:pt x="61471" y="50878"/>
                    </a:cubicBezTo>
                    <a:cubicBezTo>
                      <a:pt x="65483" y="54569"/>
                      <a:pt x="67409" y="59545"/>
                      <a:pt x="67409" y="65965"/>
                    </a:cubicBezTo>
                    <a:cubicBezTo>
                      <a:pt x="67409" y="72385"/>
                      <a:pt x="66125" y="75434"/>
                      <a:pt x="63397" y="79286"/>
                    </a:cubicBezTo>
                    <a:cubicBezTo>
                      <a:pt x="60668" y="83138"/>
                      <a:pt x="56816" y="86027"/>
                      <a:pt x="51841" y="88274"/>
                    </a:cubicBezTo>
                    <a:cubicBezTo>
                      <a:pt x="46866" y="90361"/>
                      <a:pt x="40927" y="91484"/>
                      <a:pt x="34186" y="91484"/>
                    </a:cubicBezTo>
                    <a:close/>
                  </a:path>
                </a:pathLst>
              </a:custGeom>
              <a:solidFill>
                <a:srgbClr val="000000"/>
              </a:solidFill>
              <a:ln w="1598"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4B793FE5-F080-1BF9-92FA-507398B45D96}"/>
                  </a:ext>
                </a:extLst>
              </p:cNvPr>
              <p:cNvSpPr/>
              <p:nvPr/>
            </p:nvSpPr>
            <p:spPr>
              <a:xfrm>
                <a:off x="11409357" y="434573"/>
                <a:ext cx="61952" cy="91965"/>
              </a:xfrm>
              <a:custGeom>
                <a:avLst/>
                <a:gdLst>
                  <a:gd name="connsiteX0" fmla="*/ 1124 w 61952"/>
                  <a:gd name="connsiteY0" fmla="*/ 91805 h 91965"/>
                  <a:gd name="connsiteX1" fmla="*/ 1124 w 61952"/>
                  <a:gd name="connsiteY1" fmla="*/ 16050 h 91965"/>
                  <a:gd name="connsiteX2" fmla="*/ 802 w 61952"/>
                  <a:gd name="connsiteY2" fmla="*/ 8667 h 91965"/>
                  <a:gd name="connsiteX3" fmla="*/ 0 w 61952"/>
                  <a:gd name="connsiteY3" fmla="*/ 1123 h 91965"/>
                  <a:gd name="connsiteX4" fmla="*/ 11074 w 61952"/>
                  <a:gd name="connsiteY4" fmla="*/ 1123 h 91965"/>
                  <a:gd name="connsiteX5" fmla="*/ 12519 w 61952"/>
                  <a:gd name="connsiteY5" fmla="*/ 15729 h 91965"/>
                  <a:gd name="connsiteX6" fmla="*/ 11074 w 61952"/>
                  <a:gd name="connsiteY6" fmla="*/ 15729 h 91965"/>
                  <a:gd name="connsiteX7" fmla="*/ 19099 w 61952"/>
                  <a:gd name="connsiteY7" fmla="*/ 4173 h 91965"/>
                  <a:gd name="connsiteX8" fmla="*/ 33865 w 61952"/>
                  <a:gd name="connsiteY8" fmla="*/ 0 h 91965"/>
                  <a:gd name="connsiteX9" fmla="*/ 48631 w 61952"/>
                  <a:gd name="connsiteY9" fmla="*/ 3852 h 91965"/>
                  <a:gd name="connsiteX10" fmla="*/ 58421 w 61952"/>
                  <a:gd name="connsiteY10" fmla="*/ 15087 h 91965"/>
                  <a:gd name="connsiteX11" fmla="*/ 61952 w 61952"/>
                  <a:gd name="connsiteY11" fmla="*/ 32742 h 91965"/>
                  <a:gd name="connsiteX12" fmla="*/ 58421 w 61952"/>
                  <a:gd name="connsiteY12" fmla="*/ 50396 h 91965"/>
                  <a:gd name="connsiteX13" fmla="*/ 48631 w 61952"/>
                  <a:gd name="connsiteY13" fmla="*/ 61792 h 91965"/>
                  <a:gd name="connsiteX14" fmla="*/ 33865 w 61952"/>
                  <a:gd name="connsiteY14" fmla="*/ 65644 h 91965"/>
                  <a:gd name="connsiteX15" fmla="*/ 19260 w 61952"/>
                  <a:gd name="connsiteY15" fmla="*/ 61471 h 91965"/>
                  <a:gd name="connsiteX16" fmla="*/ 10914 w 61952"/>
                  <a:gd name="connsiteY16" fmla="*/ 50075 h 91965"/>
                  <a:gd name="connsiteX17" fmla="*/ 12358 w 61952"/>
                  <a:gd name="connsiteY17" fmla="*/ 50075 h 91965"/>
                  <a:gd name="connsiteX18" fmla="*/ 12358 w 61952"/>
                  <a:gd name="connsiteY18" fmla="*/ 91965 h 91965"/>
                  <a:gd name="connsiteX19" fmla="*/ 802 w 61952"/>
                  <a:gd name="connsiteY19" fmla="*/ 91965 h 91965"/>
                  <a:gd name="connsiteX20" fmla="*/ 31458 w 61952"/>
                  <a:gd name="connsiteY20" fmla="*/ 56495 h 91965"/>
                  <a:gd name="connsiteX21" fmla="*/ 45421 w 61952"/>
                  <a:gd name="connsiteY21" fmla="*/ 50396 h 91965"/>
                  <a:gd name="connsiteX22" fmla="*/ 50557 w 61952"/>
                  <a:gd name="connsiteY22" fmla="*/ 32581 h 91965"/>
                  <a:gd name="connsiteX23" fmla="*/ 45421 w 61952"/>
                  <a:gd name="connsiteY23" fmla="*/ 14926 h 91965"/>
                  <a:gd name="connsiteX24" fmla="*/ 31458 w 61952"/>
                  <a:gd name="connsiteY24" fmla="*/ 8988 h 91965"/>
                  <a:gd name="connsiteX25" fmla="*/ 17655 w 61952"/>
                  <a:gd name="connsiteY25" fmla="*/ 14926 h 91965"/>
                  <a:gd name="connsiteX26" fmla="*/ 12519 w 61952"/>
                  <a:gd name="connsiteY26" fmla="*/ 32581 h 91965"/>
                  <a:gd name="connsiteX27" fmla="*/ 17655 w 61952"/>
                  <a:gd name="connsiteY27" fmla="*/ 50396 h 91965"/>
                  <a:gd name="connsiteX28" fmla="*/ 31458 w 61952"/>
                  <a:gd name="connsiteY28" fmla="*/ 56495 h 9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952" h="91965">
                    <a:moveTo>
                      <a:pt x="1124" y="91805"/>
                    </a:moveTo>
                    <a:lnTo>
                      <a:pt x="1124" y="16050"/>
                    </a:lnTo>
                    <a:cubicBezTo>
                      <a:pt x="1124" y="13642"/>
                      <a:pt x="1124" y="11074"/>
                      <a:pt x="802" y="8667"/>
                    </a:cubicBezTo>
                    <a:cubicBezTo>
                      <a:pt x="642" y="6099"/>
                      <a:pt x="321" y="3691"/>
                      <a:pt x="0" y="1123"/>
                    </a:cubicBezTo>
                    <a:lnTo>
                      <a:pt x="11074" y="1123"/>
                    </a:lnTo>
                    <a:lnTo>
                      <a:pt x="12519" y="15729"/>
                    </a:lnTo>
                    <a:lnTo>
                      <a:pt x="11074" y="15729"/>
                    </a:lnTo>
                    <a:cubicBezTo>
                      <a:pt x="12358" y="10914"/>
                      <a:pt x="15087" y="7062"/>
                      <a:pt x="19099" y="4173"/>
                    </a:cubicBezTo>
                    <a:cubicBezTo>
                      <a:pt x="23272" y="1284"/>
                      <a:pt x="28087" y="0"/>
                      <a:pt x="33865" y="0"/>
                    </a:cubicBezTo>
                    <a:cubicBezTo>
                      <a:pt x="39643" y="0"/>
                      <a:pt x="44458" y="1284"/>
                      <a:pt x="48631" y="3852"/>
                    </a:cubicBezTo>
                    <a:cubicBezTo>
                      <a:pt x="52804" y="6420"/>
                      <a:pt x="56174" y="10272"/>
                      <a:pt x="58421" y="15087"/>
                    </a:cubicBezTo>
                    <a:cubicBezTo>
                      <a:pt x="60668" y="20062"/>
                      <a:pt x="61952" y="25840"/>
                      <a:pt x="61952" y="32742"/>
                    </a:cubicBezTo>
                    <a:cubicBezTo>
                      <a:pt x="61952" y="39643"/>
                      <a:pt x="60829" y="45421"/>
                      <a:pt x="58421" y="50396"/>
                    </a:cubicBezTo>
                    <a:cubicBezTo>
                      <a:pt x="56174" y="55372"/>
                      <a:pt x="52804" y="59224"/>
                      <a:pt x="48631" y="61792"/>
                    </a:cubicBezTo>
                    <a:cubicBezTo>
                      <a:pt x="44458" y="64360"/>
                      <a:pt x="39483" y="65644"/>
                      <a:pt x="33865" y="65644"/>
                    </a:cubicBezTo>
                    <a:cubicBezTo>
                      <a:pt x="28248" y="65644"/>
                      <a:pt x="23433" y="64199"/>
                      <a:pt x="19260" y="61471"/>
                    </a:cubicBezTo>
                    <a:cubicBezTo>
                      <a:pt x="15247" y="58582"/>
                      <a:pt x="12358" y="54890"/>
                      <a:pt x="10914" y="50075"/>
                    </a:cubicBezTo>
                    <a:lnTo>
                      <a:pt x="12358" y="50075"/>
                    </a:lnTo>
                    <a:lnTo>
                      <a:pt x="12358" y="91965"/>
                    </a:lnTo>
                    <a:lnTo>
                      <a:pt x="802" y="91965"/>
                    </a:lnTo>
                    <a:close/>
                    <a:moveTo>
                      <a:pt x="31458" y="56495"/>
                    </a:moveTo>
                    <a:cubicBezTo>
                      <a:pt x="37236" y="56495"/>
                      <a:pt x="41890" y="54409"/>
                      <a:pt x="45421" y="50396"/>
                    </a:cubicBezTo>
                    <a:cubicBezTo>
                      <a:pt x="48952" y="46384"/>
                      <a:pt x="50557" y="40446"/>
                      <a:pt x="50557" y="32581"/>
                    </a:cubicBezTo>
                    <a:cubicBezTo>
                      <a:pt x="50557" y="24717"/>
                      <a:pt x="48792" y="18778"/>
                      <a:pt x="45421" y="14926"/>
                    </a:cubicBezTo>
                    <a:cubicBezTo>
                      <a:pt x="41890" y="10914"/>
                      <a:pt x="37396" y="8988"/>
                      <a:pt x="31458" y="8988"/>
                    </a:cubicBezTo>
                    <a:cubicBezTo>
                      <a:pt x="25519" y="8988"/>
                      <a:pt x="21025" y="10914"/>
                      <a:pt x="17655" y="14926"/>
                    </a:cubicBezTo>
                    <a:cubicBezTo>
                      <a:pt x="14284" y="18939"/>
                      <a:pt x="12519" y="24717"/>
                      <a:pt x="12519" y="32581"/>
                    </a:cubicBezTo>
                    <a:cubicBezTo>
                      <a:pt x="12519" y="40446"/>
                      <a:pt x="14284" y="46384"/>
                      <a:pt x="17655" y="50396"/>
                    </a:cubicBezTo>
                    <a:cubicBezTo>
                      <a:pt x="21025" y="54409"/>
                      <a:pt x="25680" y="56495"/>
                      <a:pt x="31458" y="56495"/>
                    </a:cubicBezTo>
                    <a:close/>
                  </a:path>
                </a:pathLst>
              </a:custGeom>
              <a:solidFill>
                <a:srgbClr val="000000"/>
              </a:solidFill>
              <a:ln w="1598"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6CEDF1DD-5DF7-6334-7666-0229881DD54F}"/>
                  </a:ext>
                </a:extLst>
              </p:cNvPr>
              <p:cNvSpPr/>
              <p:nvPr/>
            </p:nvSpPr>
            <p:spPr>
              <a:xfrm>
                <a:off x="11481902" y="434573"/>
                <a:ext cx="62112" cy="65643"/>
              </a:xfrm>
              <a:custGeom>
                <a:avLst/>
                <a:gdLst>
                  <a:gd name="connsiteX0" fmla="*/ 27927 w 62112"/>
                  <a:gd name="connsiteY0" fmla="*/ 65644 h 65643"/>
                  <a:gd name="connsiteX1" fmla="*/ 13321 w 62112"/>
                  <a:gd name="connsiteY1" fmla="*/ 61792 h 65643"/>
                  <a:gd name="connsiteX2" fmla="*/ 3531 w 62112"/>
                  <a:gd name="connsiteY2" fmla="*/ 50396 h 65643"/>
                  <a:gd name="connsiteX3" fmla="*/ 0 w 62112"/>
                  <a:gd name="connsiteY3" fmla="*/ 32742 h 65643"/>
                  <a:gd name="connsiteX4" fmla="*/ 3531 w 62112"/>
                  <a:gd name="connsiteY4" fmla="*/ 15087 h 65643"/>
                  <a:gd name="connsiteX5" fmla="*/ 13321 w 62112"/>
                  <a:gd name="connsiteY5" fmla="*/ 3852 h 65643"/>
                  <a:gd name="connsiteX6" fmla="*/ 27927 w 62112"/>
                  <a:gd name="connsiteY6" fmla="*/ 0 h 65643"/>
                  <a:gd name="connsiteX7" fmla="*/ 42692 w 62112"/>
                  <a:gd name="connsiteY7" fmla="*/ 4173 h 65643"/>
                  <a:gd name="connsiteX8" fmla="*/ 51038 w 62112"/>
                  <a:gd name="connsiteY8" fmla="*/ 15729 h 65643"/>
                  <a:gd name="connsiteX9" fmla="*/ 49594 w 62112"/>
                  <a:gd name="connsiteY9" fmla="*/ 15729 h 65643"/>
                  <a:gd name="connsiteX10" fmla="*/ 51038 w 62112"/>
                  <a:gd name="connsiteY10" fmla="*/ 1123 h 65643"/>
                  <a:gd name="connsiteX11" fmla="*/ 62113 w 62112"/>
                  <a:gd name="connsiteY11" fmla="*/ 1123 h 65643"/>
                  <a:gd name="connsiteX12" fmla="*/ 61471 w 62112"/>
                  <a:gd name="connsiteY12" fmla="*/ 8667 h 65643"/>
                  <a:gd name="connsiteX13" fmla="*/ 61150 w 62112"/>
                  <a:gd name="connsiteY13" fmla="*/ 16050 h 65643"/>
                  <a:gd name="connsiteX14" fmla="*/ 61150 w 62112"/>
                  <a:gd name="connsiteY14" fmla="*/ 64520 h 65643"/>
                  <a:gd name="connsiteX15" fmla="*/ 49594 w 62112"/>
                  <a:gd name="connsiteY15" fmla="*/ 64520 h 65643"/>
                  <a:gd name="connsiteX16" fmla="*/ 49594 w 62112"/>
                  <a:gd name="connsiteY16" fmla="*/ 49915 h 65643"/>
                  <a:gd name="connsiteX17" fmla="*/ 51038 w 62112"/>
                  <a:gd name="connsiteY17" fmla="*/ 49915 h 65643"/>
                  <a:gd name="connsiteX18" fmla="*/ 42692 w 62112"/>
                  <a:gd name="connsiteY18" fmla="*/ 61310 h 65643"/>
                  <a:gd name="connsiteX19" fmla="*/ 28087 w 62112"/>
                  <a:gd name="connsiteY19" fmla="*/ 65483 h 65643"/>
                  <a:gd name="connsiteX20" fmla="*/ 30655 w 62112"/>
                  <a:gd name="connsiteY20" fmla="*/ 56495 h 65643"/>
                  <a:gd name="connsiteX21" fmla="*/ 44458 w 62112"/>
                  <a:gd name="connsiteY21" fmla="*/ 50396 h 65643"/>
                  <a:gd name="connsiteX22" fmla="*/ 49594 w 62112"/>
                  <a:gd name="connsiteY22" fmla="*/ 32581 h 65643"/>
                  <a:gd name="connsiteX23" fmla="*/ 44458 w 62112"/>
                  <a:gd name="connsiteY23" fmla="*/ 14926 h 65643"/>
                  <a:gd name="connsiteX24" fmla="*/ 30655 w 62112"/>
                  <a:gd name="connsiteY24" fmla="*/ 8988 h 65643"/>
                  <a:gd name="connsiteX25" fmla="*/ 16852 w 62112"/>
                  <a:gd name="connsiteY25" fmla="*/ 14926 h 65643"/>
                  <a:gd name="connsiteX26" fmla="*/ 11556 w 62112"/>
                  <a:gd name="connsiteY26" fmla="*/ 32581 h 65643"/>
                  <a:gd name="connsiteX27" fmla="*/ 16692 w 62112"/>
                  <a:gd name="connsiteY27" fmla="*/ 50396 h 65643"/>
                  <a:gd name="connsiteX28" fmla="*/ 30655 w 62112"/>
                  <a:gd name="connsiteY28" fmla="*/ 56495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112" h="65643">
                    <a:moveTo>
                      <a:pt x="27927" y="65644"/>
                    </a:moveTo>
                    <a:cubicBezTo>
                      <a:pt x="22309" y="65644"/>
                      <a:pt x="17494" y="64360"/>
                      <a:pt x="13321" y="61792"/>
                    </a:cubicBezTo>
                    <a:cubicBezTo>
                      <a:pt x="9148" y="59224"/>
                      <a:pt x="5778" y="55372"/>
                      <a:pt x="3531" y="50396"/>
                    </a:cubicBezTo>
                    <a:cubicBezTo>
                      <a:pt x="1124" y="45421"/>
                      <a:pt x="0" y="39483"/>
                      <a:pt x="0" y="32742"/>
                    </a:cubicBezTo>
                    <a:cubicBezTo>
                      <a:pt x="0" y="26001"/>
                      <a:pt x="1124" y="20062"/>
                      <a:pt x="3531" y="15087"/>
                    </a:cubicBezTo>
                    <a:cubicBezTo>
                      <a:pt x="5938" y="10111"/>
                      <a:pt x="9148" y="6420"/>
                      <a:pt x="13321" y="3852"/>
                    </a:cubicBezTo>
                    <a:cubicBezTo>
                      <a:pt x="17494" y="1284"/>
                      <a:pt x="22470" y="0"/>
                      <a:pt x="27927" y="0"/>
                    </a:cubicBezTo>
                    <a:cubicBezTo>
                      <a:pt x="33384" y="0"/>
                      <a:pt x="38520" y="1444"/>
                      <a:pt x="42692" y="4173"/>
                    </a:cubicBezTo>
                    <a:cubicBezTo>
                      <a:pt x="46866" y="7062"/>
                      <a:pt x="49594" y="10914"/>
                      <a:pt x="51038" y="15729"/>
                    </a:cubicBezTo>
                    <a:lnTo>
                      <a:pt x="49594" y="15729"/>
                    </a:lnTo>
                    <a:lnTo>
                      <a:pt x="51038" y="1123"/>
                    </a:lnTo>
                    <a:lnTo>
                      <a:pt x="62113" y="1123"/>
                    </a:lnTo>
                    <a:cubicBezTo>
                      <a:pt x="61792" y="3691"/>
                      <a:pt x="61631" y="6099"/>
                      <a:pt x="61471" y="8667"/>
                    </a:cubicBezTo>
                    <a:cubicBezTo>
                      <a:pt x="61310" y="11235"/>
                      <a:pt x="61150" y="13642"/>
                      <a:pt x="61150" y="16050"/>
                    </a:cubicBezTo>
                    <a:lnTo>
                      <a:pt x="61150" y="64520"/>
                    </a:lnTo>
                    <a:lnTo>
                      <a:pt x="49594" y="64520"/>
                    </a:lnTo>
                    <a:lnTo>
                      <a:pt x="49594" y="49915"/>
                    </a:lnTo>
                    <a:lnTo>
                      <a:pt x="51038" y="49915"/>
                    </a:lnTo>
                    <a:cubicBezTo>
                      <a:pt x="49754" y="54730"/>
                      <a:pt x="46866" y="58582"/>
                      <a:pt x="42692" y="61310"/>
                    </a:cubicBezTo>
                    <a:cubicBezTo>
                      <a:pt x="38520" y="64199"/>
                      <a:pt x="33705" y="65483"/>
                      <a:pt x="28087" y="65483"/>
                    </a:cubicBezTo>
                    <a:close/>
                    <a:moveTo>
                      <a:pt x="30655" y="56495"/>
                    </a:moveTo>
                    <a:cubicBezTo>
                      <a:pt x="36433" y="56495"/>
                      <a:pt x="40927" y="54409"/>
                      <a:pt x="44458" y="50396"/>
                    </a:cubicBezTo>
                    <a:cubicBezTo>
                      <a:pt x="47989" y="46384"/>
                      <a:pt x="49594" y="40446"/>
                      <a:pt x="49594" y="32581"/>
                    </a:cubicBezTo>
                    <a:cubicBezTo>
                      <a:pt x="49594" y="24717"/>
                      <a:pt x="47828" y="18778"/>
                      <a:pt x="44458" y="14926"/>
                    </a:cubicBezTo>
                    <a:cubicBezTo>
                      <a:pt x="40927" y="10914"/>
                      <a:pt x="36433" y="8988"/>
                      <a:pt x="30655" y="8988"/>
                    </a:cubicBezTo>
                    <a:cubicBezTo>
                      <a:pt x="24877" y="8988"/>
                      <a:pt x="20383" y="10914"/>
                      <a:pt x="16852" y="14926"/>
                    </a:cubicBezTo>
                    <a:cubicBezTo>
                      <a:pt x="13321" y="18939"/>
                      <a:pt x="11556" y="24717"/>
                      <a:pt x="11556" y="32581"/>
                    </a:cubicBezTo>
                    <a:cubicBezTo>
                      <a:pt x="11556" y="40446"/>
                      <a:pt x="13321" y="46384"/>
                      <a:pt x="16692" y="50396"/>
                    </a:cubicBezTo>
                    <a:cubicBezTo>
                      <a:pt x="20223" y="54409"/>
                      <a:pt x="24717" y="56495"/>
                      <a:pt x="30655" y="56495"/>
                    </a:cubicBezTo>
                    <a:close/>
                  </a:path>
                </a:pathLst>
              </a:custGeom>
              <a:solidFill>
                <a:srgbClr val="000000"/>
              </a:solidFill>
              <a:ln w="1598"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5F4E9353-C121-920F-C745-0D16F44DC361}"/>
                  </a:ext>
                </a:extLst>
              </p:cNvPr>
              <p:cNvSpPr/>
              <p:nvPr/>
            </p:nvSpPr>
            <p:spPr>
              <a:xfrm>
                <a:off x="11557175" y="434413"/>
                <a:ext cx="52803" cy="65804"/>
              </a:xfrm>
              <a:custGeom>
                <a:avLst/>
                <a:gdLst>
                  <a:gd name="connsiteX0" fmla="*/ 30976 w 52803"/>
                  <a:gd name="connsiteY0" fmla="*/ 65804 h 65804"/>
                  <a:gd name="connsiteX1" fmla="*/ 14605 w 52803"/>
                  <a:gd name="connsiteY1" fmla="*/ 61792 h 65804"/>
                  <a:gd name="connsiteX2" fmla="*/ 3852 w 52803"/>
                  <a:gd name="connsiteY2" fmla="*/ 50236 h 65804"/>
                  <a:gd name="connsiteX3" fmla="*/ 0 w 52803"/>
                  <a:gd name="connsiteY3" fmla="*/ 32421 h 65804"/>
                  <a:gd name="connsiteX4" fmla="*/ 3852 w 52803"/>
                  <a:gd name="connsiteY4" fmla="*/ 14926 h 65804"/>
                  <a:gd name="connsiteX5" fmla="*/ 14766 w 52803"/>
                  <a:gd name="connsiteY5" fmla="*/ 3852 h 65804"/>
                  <a:gd name="connsiteX6" fmla="*/ 31137 w 52803"/>
                  <a:gd name="connsiteY6" fmla="*/ 0 h 65804"/>
                  <a:gd name="connsiteX7" fmla="*/ 43174 w 52803"/>
                  <a:gd name="connsiteY7" fmla="*/ 2086 h 65804"/>
                  <a:gd name="connsiteX8" fmla="*/ 52643 w 52803"/>
                  <a:gd name="connsiteY8" fmla="*/ 8025 h 65804"/>
                  <a:gd name="connsiteX9" fmla="*/ 48791 w 52803"/>
                  <a:gd name="connsiteY9" fmla="*/ 16050 h 65804"/>
                  <a:gd name="connsiteX10" fmla="*/ 40766 w 52803"/>
                  <a:gd name="connsiteY10" fmla="*/ 10753 h 65804"/>
                  <a:gd name="connsiteX11" fmla="*/ 32100 w 52803"/>
                  <a:gd name="connsiteY11" fmla="*/ 8988 h 65804"/>
                  <a:gd name="connsiteX12" fmla="*/ 17494 w 52803"/>
                  <a:gd name="connsiteY12" fmla="*/ 14926 h 65804"/>
                  <a:gd name="connsiteX13" fmla="*/ 12198 w 52803"/>
                  <a:gd name="connsiteY13" fmla="*/ 32260 h 65804"/>
                  <a:gd name="connsiteX14" fmla="*/ 17494 w 52803"/>
                  <a:gd name="connsiteY14" fmla="*/ 49915 h 65804"/>
                  <a:gd name="connsiteX15" fmla="*/ 32100 w 52803"/>
                  <a:gd name="connsiteY15" fmla="*/ 56174 h 65804"/>
                  <a:gd name="connsiteX16" fmla="*/ 40766 w 52803"/>
                  <a:gd name="connsiteY16" fmla="*/ 54569 h 65804"/>
                  <a:gd name="connsiteX17" fmla="*/ 48952 w 52803"/>
                  <a:gd name="connsiteY17" fmla="*/ 49433 h 65804"/>
                  <a:gd name="connsiteX18" fmla="*/ 52804 w 52803"/>
                  <a:gd name="connsiteY18" fmla="*/ 57458 h 65804"/>
                  <a:gd name="connsiteX19" fmla="*/ 43174 w 52803"/>
                  <a:gd name="connsiteY19" fmla="*/ 63557 h 65804"/>
                  <a:gd name="connsiteX20" fmla="*/ 31297 w 52803"/>
                  <a:gd name="connsiteY20" fmla="*/ 65644 h 6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803" h="65804">
                    <a:moveTo>
                      <a:pt x="30976" y="65804"/>
                    </a:moveTo>
                    <a:cubicBezTo>
                      <a:pt x="24717" y="65804"/>
                      <a:pt x="19260" y="64520"/>
                      <a:pt x="14605" y="61792"/>
                    </a:cubicBezTo>
                    <a:cubicBezTo>
                      <a:pt x="9951" y="59063"/>
                      <a:pt x="6420" y="55372"/>
                      <a:pt x="3852" y="50236"/>
                    </a:cubicBezTo>
                    <a:cubicBezTo>
                      <a:pt x="1284" y="45261"/>
                      <a:pt x="0" y="39322"/>
                      <a:pt x="0" y="32421"/>
                    </a:cubicBezTo>
                    <a:cubicBezTo>
                      <a:pt x="0" y="25519"/>
                      <a:pt x="1284" y="19741"/>
                      <a:pt x="3852" y="14926"/>
                    </a:cubicBezTo>
                    <a:cubicBezTo>
                      <a:pt x="6420" y="10111"/>
                      <a:pt x="10111" y="6420"/>
                      <a:pt x="14766" y="3852"/>
                    </a:cubicBezTo>
                    <a:cubicBezTo>
                      <a:pt x="19420" y="1284"/>
                      <a:pt x="24877" y="0"/>
                      <a:pt x="31137" y="0"/>
                    </a:cubicBezTo>
                    <a:cubicBezTo>
                      <a:pt x="37396" y="0"/>
                      <a:pt x="39322" y="642"/>
                      <a:pt x="43174" y="2086"/>
                    </a:cubicBezTo>
                    <a:cubicBezTo>
                      <a:pt x="47026" y="3531"/>
                      <a:pt x="50236" y="5457"/>
                      <a:pt x="52643" y="8025"/>
                    </a:cubicBezTo>
                    <a:lnTo>
                      <a:pt x="48791" y="16050"/>
                    </a:lnTo>
                    <a:cubicBezTo>
                      <a:pt x="46384" y="13642"/>
                      <a:pt x="43655" y="11877"/>
                      <a:pt x="40766" y="10753"/>
                    </a:cubicBezTo>
                    <a:cubicBezTo>
                      <a:pt x="37878" y="9630"/>
                      <a:pt x="34989" y="8988"/>
                      <a:pt x="32100" y="8988"/>
                    </a:cubicBezTo>
                    <a:cubicBezTo>
                      <a:pt x="25840" y="8988"/>
                      <a:pt x="21025" y="10914"/>
                      <a:pt x="17494" y="14926"/>
                    </a:cubicBezTo>
                    <a:cubicBezTo>
                      <a:pt x="13963" y="18939"/>
                      <a:pt x="12198" y="24717"/>
                      <a:pt x="12198" y="32260"/>
                    </a:cubicBezTo>
                    <a:cubicBezTo>
                      <a:pt x="12198" y="39804"/>
                      <a:pt x="13963" y="45903"/>
                      <a:pt x="17494" y="49915"/>
                    </a:cubicBezTo>
                    <a:cubicBezTo>
                      <a:pt x="21025" y="54088"/>
                      <a:pt x="25840" y="56174"/>
                      <a:pt x="32100" y="56174"/>
                    </a:cubicBezTo>
                    <a:cubicBezTo>
                      <a:pt x="38359" y="56174"/>
                      <a:pt x="37717" y="55693"/>
                      <a:pt x="40766" y="54569"/>
                    </a:cubicBezTo>
                    <a:cubicBezTo>
                      <a:pt x="43655" y="53446"/>
                      <a:pt x="46384" y="51680"/>
                      <a:pt x="48952" y="49433"/>
                    </a:cubicBezTo>
                    <a:lnTo>
                      <a:pt x="52804" y="57458"/>
                    </a:lnTo>
                    <a:cubicBezTo>
                      <a:pt x="50236" y="60187"/>
                      <a:pt x="47026" y="62273"/>
                      <a:pt x="43174" y="63557"/>
                    </a:cubicBezTo>
                    <a:cubicBezTo>
                      <a:pt x="39322" y="65002"/>
                      <a:pt x="35310" y="65644"/>
                      <a:pt x="31297" y="65644"/>
                    </a:cubicBezTo>
                    <a:close/>
                  </a:path>
                </a:pathLst>
              </a:custGeom>
              <a:solidFill>
                <a:srgbClr val="000000"/>
              </a:solidFill>
              <a:ln w="1598"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6B376223-BFB3-D7AE-16A1-A86E1F5D4E62}"/>
                  </a:ext>
                </a:extLst>
              </p:cNvPr>
              <p:cNvSpPr/>
              <p:nvPr/>
            </p:nvSpPr>
            <p:spPr>
              <a:xfrm>
                <a:off x="11617202" y="434252"/>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1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6 w 57618"/>
                  <a:gd name="connsiteY21" fmla="*/ 55051 h 65964"/>
                  <a:gd name="connsiteX22" fmla="*/ 53125 w 57618"/>
                  <a:gd name="connsiteY22" fmla="*/ 49594 h 65964"/>
                  <a:gd name="connsiteX23" fmla="*/ 56977 w 57618"/>
                  <a:gd name="connsiteY23" fmla="*/ 57619 h 65964"/>
                  <a:gd name="connsiteX24" fmla="*/ 46223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50"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1"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3" y="17334"/>
                      <a:pt x="43335" y="13803"/>
                    </a:cubicBezTo>
                    <a:cubicBezTo>
                      <a:pt x="40446"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6" y="56174"/>
                      <a:pt x="43656" y="55051"/>
                    </a:cubicBezTo>
                    <a:cubicBezTo>
                      <a:pt x="46866" y="53927"/>
                      <a:pt x="50075" y="52162"/>
                      <a:pt x="53125" y="49594"/>
                    </a:cubicBezTo>
                    <a:lnTo>
                      <a:pt x="56977" y="57619"/>
                    </a:lnTo>
                    <a:cubicBezTo>
                      <a:pt x="54088" y="60187"/>
                      <a:pt x="50557" y="62273"/>
                      <a:pt x="46223"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B72893D-84D0-6F10-CF30-E83CDCDCDE13}"/>
                  </a:ext>
                </a:extLst>
              </p:cNvPr>
              <p:cNvSpPr/>
              <p:nvPr/>
            </p:nvSpPr>
            <p:spPr>
              <a:xfrm>
                <a:off x="11709328" y="408733"/>
                <a:ext cx="81212" cy="91483"/>
              </a:xfrm>
              <a:custGeom>
                <a:avLst/>
                <a:gdLst>
                  <a:gd name="connsiteX0" fmla="*/ 76718 w 81212"/>
                  <a:gd name="connsiteY0" fmla="*/ 91484 h 91483"/>
                  <a:gd name="connsiteX1" fmla="*/ 65804 w 81212"/>
                  <a:gd name="connsiteY1" fmla="*/ 85225 h 91483"/>
                  <a:gd name="connsiteX2" fmla="*/ 56977 w 81212"/>
                  <a:gd name="connsiteY2" fmla="*/ 77842 h 91483"/>
                  <a:gd name="connsiteX3" fmla="*/ 59705 w 81212"/>
                  <a:gd name="connsiteY3" fmla="*/ 77842 h 91483"/>
                  <a:gd name="connsiteX4" fmla="*/ 46384 w 81212"/>
                  <a:gd name="connsiteY4" fmla="*/ 87953 h 91483"/>
                  <a:gd name="connsiteX5" fmla="*/ 29692 w 81212"/>
                  <a:gd name="connsiteY5" fmla="*/ 91484 h 91483"/>
                  <a:gd name="connsiteX6" fmla="*/ 13803 w 81212"/>
                  <a:gd name="connsiteY6" fmla="*/ 88595 h 91483"/>
                  <a:gd name="connsiteX7" fmla="*/ 3531 w 81212"/>
                  <a:gd name="connsiteY7" fmla="*/ 80570 h 91483"/>
                  <a:gd name="connsiteX8" fmla="*/ 0 w 81212"/>
                  <a:gd name="connsiteY8" fmla="*/ 68533 h 91483"/>
                  <a:gd name="connsiteX9" fmla="*/ 4975 w 81212"/>
                  <a:gd name="connsiteY9" fmla="*/ 53767 h 91483"/>
                  <a:gd name="connsiteX10" fmla="*/ 19260 w 81212"/>
                  <a:gd name="connsiteY10" fmla="*/ 41890 h 91483"/>
                  <a:gd name="connsiteX11" fmla="*/ 23433 w 81212"/>
                  <a:gd name="connsiteY11" fmla="*/ 39322 h 91483"/>
                  <a:gd name="connsiteX12" fmla="*/ 21828 w 81212"/>
                  <a:gd name="connsiteY12" fmla="*/ 41409 h 91483"/>
                  <a:gd name="connsiteX13" fmla="*/ 13321 w 81212"/>
                  <a:gd name="connsiteY13" fmla="*/ 30334 h 91483"/>
                  <a:gd name="connsiteX14" fmla="*/ 10593 w 81212"/>
                  <a:gd name="connsiteY14" fmla="*/ 19902 h 91483"/>
                  <a:gd name="connsiteX15" fmla="*/ 13482 w 81212"/>
                  <a:gd name="connsiteY15" fmla="*/ 9469 h 91483"/>
                  <a:gd name="connsiteX16" fmla="*/ 21507 w 81212"/>
                  <a:gd name="connsiteY16" fmla="*/ 2568 h 91483"/>
                  <a:gd name="connsiteX17" fmla="*/ 33705 w 81212"/>
                  <a:gd name="connsiteY17" fmla="*/ 0 h 91483"/>
                  <a:gd name="connsiteX18" fmla="*/ 48470 w 81212"/>
                  <a:gd name="connsiteY18" fmla="*/ 4975 h 91483"/>
                  <a:gd name="connsiteX19" fmla="*/ 54248 w 81212"/>
                  <a:gd name="connsiteY19" fmla="*/ 18297 h 91483"/>
                  <a:gd name="connsiteX20" fmla="*/ 52483 w 81212"/>
                  <a:gd name="connsiteY20" fmla="*/ 26964 h 91483"/>
                  <a:gd name="connsiteX21" fmla="*/ 46384 w 81212"/>
                  <a:gd name="connsiteY21" fmla="*/ 34828 h 91483"/>
                  <a:gd name="connsiteX22" fmla="*/ 34989 w 81212"/>
                  <a:gd name="connsiteY22" fmla="*/ 43014 h 91483"/>
                  <a:gd name="connsiteX23" fmla="*/ 35310 w 81212"/>
                  <a:gd name="connsiteY23" fmla="*/ 40446 h 91483"/>
                  <a:gd name="connsiteX24" fmla="*/ 59384 w 81212"/>
                  <a:gd name="connsiteY24" fmla="*/ 66286 h 91483"/>
                  <a:gd name="connsiteX25" fmla="*/ 56816 w 81212"/>
                  <a:gd name="connsiteY25" fmla="*/ 66286 h 91483"/>
                  <a:gd name="connsiteX26" fmla="*/ 61952 w 81212"/>
                  <a:gd name="connsiteY26" fmla="*/ 53606 h 91483"/>
                  <a:gd name="connsiteX27" fmla="*/ 64039 w 81212"/>
                  <a:gd name="connsiteY27" fmla="*/ 37878 h 91483"/>
                  <a:gd name="connsiteX28" fmla="*/ 73990 w 81212"/>
                  <a:gd name="connsiteY28" fmla="*/ 37878 h 91483"/>
                  <a:gd name="connsiteX29" fmla="*/ 70940 w 81212"/>
                  <a:gd name="connsiteY29" fmla="*/ 57458 h 91483"/>
                  <a:gd name="connsiteX30" fmla="*/ 63557 w 81212"/>
                  <a:gd name="connsiteY30" fmla="*/ 73348 h 91483"/>
                  <a:gd name="connsiteX31" fmla="*/ 63557 w 81212"/>
                  <a:gd name="connsiteY31" fmla="*/ 70138 h 91483"/>
                  <a:gd name="connsiteX32" fmla="*/ 71261 w 81212"/>
                  <a:gd name="connsiteY32" fmla="*/ 77200 h 91483"/>
                  <a:gd name="connsiteX33" fmla="*/ 81212 w 81212"/>
                  <a:gd name="connsiteY33" fmla="*/ 83138 h 91483"/>
                  <a:gd name="connsiteX34" fmla="*/ 76718 w 81212"/>
                  <a:gd name="connsiteY34" fmla="*/ 91484 h 91483"/>
                  <a:gd name="connsiteX35" fmla="*/ 30334 w 81212"/>
                  <a:gd name="connsiteY35" fmla="*/ 82175 h 91483"/>
                  <a:gd name="connsiteX36" fmla="*/ 43334 w 81212"/>
                  <a:gd name="connsiteY36" fmla="*/ 79286 h 91483"/>
                  <a:gd name="connsiteX37" fmla="*/ 53285 w 81212"/>
                  <a:gd name="connsiteY37" fmla="*/ 70780 h 91483"/>
                  <a:gd name="connsiteX38" fmla="*/ 52964 w 81212"/>
                  <a:gd name="connsiteY38" fmla="*/ 73990 h 91483"/>
                  <a:gd name="connsiteX39" fmla="*/ 25680 w 81212"/>
                  <a:gd name="connsiteY39" fmla="*/ 45261 h 91483"/>
                  <a:gd name="connsiteX40" fmla="*/ 30174 w 81212"/>
                  <a:gd name="connsiteY40" fmla="*/ 45261 h 91483"/>
                  <a:gd name="connsiteX41" fmla="*/ 26322 w 81212"/>
                  <a:gd name="connsiteY41" fmla="*/ 47668 h 91483"/>
                  <a:gd name="connsiteX42" fmla="*/ 17976 w 81212"/>
                  <a:gd name="connsiteY42" fmla="*/ 53927 h 91483"/>
                  <a:gd name="connsiteX43" fmla="*/ 13161 w 81212"/>
                  <a:gd name="connsiteY43" fmla="*/ 60187 h 91483"/>
                  <a:gd name="connsiteX44" fmla="*/ 11556 w 81212"/>
                  <a:gd name="connsiteY44" fmla="*/ 67730 h 91483"/>
                  <a:gd name="connsiteX45" fmla="*/ 16371 w 81212"/>
                  <a:gd name="connsiteY45" fmla="*/ 78163 h 91483"/>
                  <a:gd name="connsiteX46" fmla="*/ 30334 w 81212"/>
                  <a:gd name="connsiteY46" fmla="*/ 82015 h 91483"/>
                  <a:gd name="connsiteX47" fmla="*/ 33865 w 81212"/>
                  <a:gd name="connsiteY47" fmla="*/ 8506 h 91483"/>
                  <a:gd name="connsiteX48" fmla="*/ 24877 w 81212"/>
                  <a:gd name="connsiteY48" fmla="*/ 11716 h 91483"/>
                  <a:gd name="connsiteX49" fmla="*/ 21507 w 81212"/>
                  <a:gd name="connsiteY49" fmla="*/ 20062 h 91483"/>
                  <a:gd name="connsiteX50" fmla="*/ 22470 w 81212"/>
                  <a:gd name="connsiteY50" fmla="*/ 25038 h 91483"/>
                  <a:gd name="connsiteX51" fmla="*/ 25680 w 81212"/>
                  <a:gd name="connsiteY51" fmla="*/ 30013 h 91483"/>
                  <a:gd name="connsiteX52" fmla="*/ 31618 w 81212"/>
                  <a:gd name="connsiteY52" fmla="*/ 36915 h 91483"/>
                  <a:gd name="connsiteX53" fmla="*/ 28569 w 81212"/>
                  <a:gd name="connsiteY53" fmla="*/ 37236 h 91483"/>
                  <a:gd name="connsiteX54" fmla="*/ 41088 w 81212"/>
                  <a:gd name="connsiteY54" fmla="*/ 28087 h 91483"/>
                  <a:gd name="connsiteX55" fmla="*/ 44939 w 81212"/>
                  <a:gd name="connsiteY55" fmla="*/ 19099 h 91483"/>
                  <a:gd name="connsiteX56" fmla="*/ 41890 w 81212"/>
                  <a:gd name="connsiteY56" fmla="*/ 11395 h 91483"/>
                  <a:gd name="connsiteX57" fmla="*/ 33865 w 81212"/>
                  <a:gd name="connsiteY57" fmla="*/ 8506 h 9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1212" h="91483">
                    <a:moveTo>
                      <a:pt x="76718" y="91484"/>
                    </a:moveTo>
                    <a:cubicBezTo>
                      <a:pt x="72866" y="89879"/>
                      <a:pt x="69175" y="87793"/>
                      <a:pt x="65804" y="85225"/>
                    </a:cubicBezTo>
                    <a:cubicBezTo>
                      <a:pt x="62434" y="82817"/>
                      <a:pt x="59545" y="80249"/>
                      <a:pt x="56977" y="77842"/>
                    </a:cubicBezTo>
                    <a:lnTo>
                      <a:pt x="59705" y="77842"/>
                    </a:lnTo>
                    <a:cubicBezTo>
                      <a:pt x="56014" y="82175"/>
                      <a:pt x="51520" y="85546"/>
                      <a:pt x="46384" y="87953"/>
                    </a:cubicBezTo>
                    <a:cubicBezTo>
                      <a:pt x="41248" y="90361"/>
                      <a:pt x="35631" y="91484"/>
                      <a:pt x="29692" y="91484"/>
                    </a:cubicBezTo>
                    <a:cubicBezTo>
                      <a:pt x="23754" y="91484"/>
                      <a:pt x="18297" y="90521"/>
                      <a:pt x="13803" y="88595"/>
                    </a:cubicBezTo>
                    <a:cubicBezTo>
                      <a:pt x="9309" y="86669"/>
                      <a:pt x="5938" y="84101"/>
                      <a:pt x="3531" y="80570"/>
                    </a:cubicBezTo>
                    <a:cubicBezTo>
                      <a:pt x="1124" y="77200"/>
                      <a:pt x="0" y="73187"/>
                      <a:pt x="0" y="68533"/>
                    </a:cubicBezTo>
                    <a:cubicBezTo>
                      <a:pt x="0" y="63878"/>
                      <a:pt x="1605" y="57940"/>
                      <a:pt x="4975" y="53767"/>
                    </a:cubicBezTo>
                    <a:cubicBezTo>
                      <a:pt x="8346" y="49754"/>
                      <a:pt x="13161" y="45742"/>
                      <a:pt x="19260" y="41890"/>
                    </a:cubicBezTo>
                    <a:lnTo>
                      <a:pt x="23433" y="39322"/>
                    </a:lnTo>
                    <a:lnTo>
                      <a:pt x="21828" y="41409"/>
                    </a:lnTo>
                    <a:cubicBezTo>
                      <a:pt x="17976" y="37396"/>
                      <a:pt x="15087" y="33705"/>
                      <a:pt x="13321" y="30334"/>
                    </a:cubicBezTo>
                    <a:cubicBezTo>
                      <a:pt x="11556" y="26964"/>
                      <a:pt x="10593" y="23593"/>
                      <a:pt x="10593" y="19902"/>
                    </a:cubicBezTo>
                    <a:cubicBezTo>
                      <a:pt x="10593" y="16210"/>
                      <a:pt x="11556" y="12519"/>
                      <a:pt x="13482" y="9469"/>
                    </a:cubicBezTo>
                    <a:cubicBezTo>
                      <a:pt x="15408" y="6580"/>
                      <a:pt x="17976" y="4173"/>
                      <a:pt x="21507" y="2568"/>
                    </a:cubicBezTo>
                    <a:cubicBezTo>
                      <a:pt x="25038" y="963"/>
                      <a:pt x="29050" y="0"/>
                      <a:pt x="33705" y="0"/>
                    </a:cubicBezTo>
                    <a:cubicBezTo>
                      <a:pt x="38359" y="0"/>
                      <a:pt x="44618" y="1605"/>
                      <a:pt x="48470" y="4975"/>
                    </a:cubicBezTo>
                    <a:cubicBezTo>
                      <a:pt x="52322" y="8185"/>
                      <a:pt x="54248" y="12679"/>
                      <a:pt x="54248" y="18297"/>
                    </a:cubicBezTo>
                    <a:cubicBezTo>
                      <a:pt x="54248" y="23914"/>
                      <a:pt x="53606" y="24235"/>
                      <a:pt x="52483" y="26964"/>
                    </a:cubicBezTo>
                    <a:cubicBezTo>
                      <a:pt x="51199" y="29692"/>
                      <a:pt x="49273" y="32260"/>
                      <a:pt x="46384" y="34828"/>
                    </a:cubicBezTo>
                    <a:cubicBezTo>
                      <a:pt x="43495" y="37396"/>
                      <a:pt x="39804" y="40125"/>
                      <a:pt x="34989" y="43014"/>
                    </a:cubicBezTo>
                    <a:lnTo>
                      <a:pt x="35310" y="40446"/>
                    </a:lnTo>
                    <a:lnTo>
                      <a:pt x="59384" y="66286"/>
                    </a:lnTo>
                    <a:lnTo>
                      <a:pt x="56816" y="66286"/>
                    </a:lnTo>
                    <a:cubicBezTo>
                      <a:pt x="59063" y="62755"/>
                      <a:pt x="60668" y="58582"/>
                      <a:pt x="61952" y="53606"/>
                    </a:cubicBezTo>
                    <a:cubicBezTo>
                      <a:pt x="63236" y="48631"/>
                      <a:pt x="63878" y="43495"/>
                      <a:pt x="64039" y="37878"/>
                    </a:cubicBezTo>
                    <a:lnTo>
                      <a:pt x="73990" y="37878"/>
                    </a:lnTo>
                    <a:cubicBezTo>
                      <a:pt x="73669" y="44940"/>
                      <a:pt x="72706" y="51359"/>
                      <a:pt x="70940" y="57458"/>
                    </a:cubicBezTo>
                    <a:cubicBezTo>
                      <a:pt x="69175" y="63557"/>
                      <a:pt x="66767" y="68854"/>
                      <a:pt x="63557" y="73348"/>
                    </a:cubicBezTo>
                    <a:lnTo>
                      <a:pt x="63557" y="70138"/>
                    </a:lnTo>
                    <a:cubicBezTo>
                      <a:pt x="65644" y="72545"/>
                      <a:pt x="68212" y="74792"/>
                      <a:pt x="71261" y="77200"/>
                    </a:cubicBezTo>
                    <a:cubicBezTo>
                      <a:pt x="74311" y="79447"/>
                      <a:pt x="77681" y="81533"/>
                      <a:pt x="81212" y="83138"/>
                    </a:cubicBezTo>
                    <a:lnTo>
                      <a:pt x="76718" y="91484"/>
                    </a:lnTo>
                    <a:close/>
                    <a:moveTo>
                      <a:pt x="30334" y="82175"/>
                    </a:moveTo>
                    <a:cubicBezTo>
                      <a:pt x="35149" y="82175"/>
                      <a:pt x="39483" y="81212"/>
                      <a:pt x="43334" y="79286"/>
                    </a:cubicBezTo>
                    <a:cubicBezTo>
                      <a:pt x="47186" y="77360"/>
                      <a:pt x="50396" y="74471"/>
                      <a:pt x="53285" y="70780"/>
                    </a:cubicBezTo>
                    <a:lnTo>
                      <a:pt x="52964" y="73990"/>
                    </a:lnTo>
                    <a:lnTo>
                      <a:pt x="25680" y="45261"/>
                    </a:lnTo>
                    <a:lnTo>
                      <a:pt x="30174" y="45261"/>
                    </a:lnTo>
                    <a:lnTo>
                      <a:pt x="26322" y="47668"/>
                    </a:lnTo>
                    <a:cubicBezTo>
                      <a:pt x="22951" y="49915"/>
                      <a:pt x="20223" y="52001"/>
                      <a:pt x="17976" y="53927"/>
                    </a:cubicBezTo>
                    <a:cubicBezTo>
                      <a:pt x="15729" y="56014"/>
                      <a:pt x="14124" y="58100"/>
                      <a:pt x="13161" y="60187"/>
                    </a:cubicBezTo>
                    <a:cubicBezTo>
                      <a:pt x="12037" y="62434"/>
                      <a:pt x="11556" y="64841"/>
                      <a:pt x="11556" y="67730"/>
                    </a:cubicBezTo>
                    <a:cubicBezTo>
                      <a:pt x="11556" y="72224"/>
                      <a:pt x="13161" y="75755"/>
                      <a:pt x="16371" y="78163"/>
                    </a:cubicBezTo>
                    <a:cubicBezTo>
                      <a:pt x="19581" y="80731"/>
                      <a:pt x="24235" y="82015"/>
                      <a:pt x="30334" y="82015"/>
                    </a:cubicBezTo>
                    <a:close/>
                    <a:moveTo>
                      <a:pt x="33865" y="8506"/>
                    </a:moveTo>
                    <a:cubicBezTo>
                      <a:pt x="30174" y="8506"/>
                      <a:pt x="27124" y="9630"/>
                      <a:pt x="24877" y="11716"/>
                    </a:cubicBezTo>
                    <a:cubicBezTo>
                      <a:pt x="22630" y="13803"/>
                      <a:pt x="21507" y="16531"/>
                      <a:pt x="21507" y="20062"/>
                    </a:cubicBezTo>
                    <a:cubicBezTo>
                      <a:pt x="21507" y="23593"/>
                      <a:pt x="21828" y="23433"/>
                      <a:pt x="22470" y="25038"/>
                    </a:cubicBezTo>
                    <a:cubicBezTo>
                      <a:pt x="23112" y="26643"/>
                      <a:pt x="24075" y="28248"/>
                      <a:pt x="25680" y="30013"/>
                    </a:cubicBezTo>
                    <a:cubicBezTo>
                      <a:pt x="27124" y="31779"/>
                      <a:pt x="29050" y="34186"/>
                      <a:pt x="31618" y="36915"/>
                    </a:cubicBezTo>
                    <a:lnTo>
                      <a:pt x="28569" y="37236"/>
                    </a:lnTo>
                    <a:cubicBezTo>
                      <a:pt x="34347" y="33705"/>
                      <a:pt x="38519" y="30655"/>
                      <a:pt x="41088" y="28087"/>
                    </a:cubicBezTo>
                    <a:cubicBezTo>
                      <a:pt x="43656" y="25359"/>
                      <a:pt x="44939" y="22470"/>
                      <a:pt x="44939" y="19099"/>
                    </a:cubicBezTo>
                    <a:cubicBezTo>
                      <a:pt x="44939" y="15729"/>
                      <a:pt x="43976" y="13161"/>
                      <a:pt x="41890" y="11395"/>
                    </a:cubicBezTo>
                    <a:cubicBezTo>
                      <a:pt x="39964" y="9469"/>
                      <a:pt x="37236" y="8506"/>
                      <a:pt x="33865" y="8506"/>
                    </a:cubicBezTo>
                    <a:close/>
                  </a:path>
                </a:pathLst>
              </a:custGeom>
              <a:solidFill>
                <a:srgbClr val="000000"/>
              </a:solidFill>
              <a:ln w="1598"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997D223B-1846-DB4A-2215-2E9906A267AB}"/>
                  </a:ext>
                </a:extLst>
              </p:cNvPr>
              <p:cNvSpPr/>
              <p:nvPr/>
            </p:nvSpPr>
            <p:spPr>
              <a:xfrm>
                <a:off x="11333601" y="526539"/>
                <a:ext cx="76236" cy="89076"/>
              </a:xfrm>
              <a:custGeom>
                <a:avLst/>
                <a:gdLst>
                  <a:gd name="connsiteX0" fmla="*/ 0 w 76236"/>
                  <a:gd name="connsiteY0" fmla="*/ 89077 h 89076"/>
                  <a:gd name="connsiteX1" fmla="*/ 0 w 76236"/>
                  <a:gd name="connsiteY1" fmla="*/ 0 h 89076"/>
                  <a:gd name="connsiteX2" fmla="*/ 30174 w 76236"/>
                  <a:gd name="connsiteY2" fmla="*/ 0 h 89076"/>
                  <a:gd name="connsiteX3" fmla="*/ 55372 w 76236"/>
                  <a:gd name="connsiteY3" fmla="*/ 5136 h 89076"/>
                  <a:gd name="connsiteX4" fmla="*/ 70940 w 76236"/>
                  <a:gd name="connsiteY4" fmla="*/ 20223 h 89076"/>
                  <a:gd name="connsiteX5" fmla="*/ 76237 w 76236"/>
                  <a:gd name="connsiteY5" fmla="*/ 44458 h 89076"/>
                  <a:gd name="connsiteX6" fmla="*/ 70940 w 76236"/>
                  <a:gd name="connsiteY6" fmla="*/ 68693 h 89076"/>
                  <a:gd name="connsiteX7" fmla="*/ 55372 w 76236"/>
                  <a:gd name="connsiteY7" fmla="*/ 83780 h 89076"/>
                  <a:gd name="connsiteX8" fmla="*/ 30174 w 76236"/>
                  <a:gd name="connsiteY8" fmla="*/ 88916 h 89076"/>
                  <a:gd name="connsiteX9" fmla="*/ 0 w 76236"/>
                  <a:gd name="connsiteY9" fmla="*/ 88916 h 89076"/>
                  <a:gd name="connsiteX10" fmla="*/ 11716 w 76236"/>
                  <a:gd name="connsiteY10" fmla="*/ 79126 h 89076"/>
                  <a:gd name="connsiteX11" fmla="*/ 29211 w 76236"/>
                  <a:gd name="connsiteY11" fmla="*/ 79126 h 89076"/>
                  <a:gd name="connsiteX12" fmla="*/ 55693 w 76236"/>
                  <a:gd name="connsiteY12" fmla="*/ 70459 h 89076"/>
                  <a:gd name="connsiteX13" fmla="*/ 64360 w 76236"/>
                  <a:gd name="connsiteY13" fmla="*/ 44458 h 89076"/>
                  <a:gd name="connsiteX14" fmla="*/ 55693 w 76236"/>
                  <a:gd name="connsiteY14" fmla="*/ 18457 h 89076"/>
                  <a:gd name="connsiteX15" fmla="*/ 29211 w 76236"/>
                  <a:gd name="connsiteY15" fmla="*/ 9951 h 89076"/>
                  <a:gd name="connsiteX16" fmla="*/ 11716 w 76236"/>
                  <a:gd name="connsiteY16" fmla="*/ 9951 h 89076"/>
                  <a:gd name="connsiteX17" fmla="*/ 11716 w 76236"/>
                  <a:gd name="connsiteY17" fmla="*/ 79126 h 8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36" h="89076">
                    <a:moveTo>
                      <a:pt x="0" y="89077"/>
                    </a:moveTo>
                    <a:lnTo>
                      <a:pt x="0" y="0"/>
                    </a:lnTo>
                    <a:lnTo>
                      <a:pt x="30174" y="0"/>
                    </a:lnTo>
                    <a:cubicBezTo>
                      <a:pt x="40125" y="0"/>
                      <a:pt x="48470" y="1765"/>
                      <a:pt x="55372" y="5136"/>
                    </a:cubicBezTo>
                    <a:cubicBezTo>
                      <a:pt x="62273" y="8667"/>
                      <a:pt x="67409" y="13642"/>
                      <a:pt x="70940" y="20223"/>
                    </a:cubicBezTo>
                    <a:cubicBezTo>
                      <a:pt x="74471" y="26803"/>
                      <a:pt x="76237" y="34828"/>
                      <a:pt x="76237" y="44458"/>
                    </a:cubicBezTo>
                    <a:cubicBezTo>
                      <a:pt x="76237" y="54088"/>
                      <a:pt x="74471" y="62113"/>
                      <a:pt x="70940" y="68693"/>
                    </a:cubicBezTo>
                    <a:cubicBezTo>
                      <a:pt x="67409" y="75274"/>
                      <a:pt x="62273" y="80410"/>
                      <a:pt x="55372" y="83780"/>
                    </a:cubicBezTo>
                    <a:cubicBezTo>
                      <a:pt x="48470" y="87311"/>
                      <a:pt x="40125" y="88916"/>
                      <a:pt x="30174" y="88916"/>
                    </a:cubicBezTo>
                    <a:lnTo>
                      <a:pt x="0" y="88916"/>
                    </a:lnTo>
                    <a:close/>
                    <a:moveTo>
                      <a:pt x="11716" y="79126"/>
                    </a:moveTo>
                    <a:lnTo>
                      <a:pt x="29211" y="79126"/>
                    </a:lnTo>
                    <a:cubicBezTo>
                      <a:pt x="41088" y="79126"/>
                      <a:pt x="49915" y="76237"/>
                      <a:pt x="55693" y="70459"/>
                    </a:cubicBezTo>
                    <a:cubicBezTo>
                      <a:pt x="61471" y="64681"/>
                      <a:pt x="64360" y="56014"/>
                      <a:pt x="64360" y="44458"/>
                    </a:cubicBezTo>
                    <a:cubicBezTo>
                      <a:pt x="64360" y="32902"/>
                      <a:pt x="61471" y="24235"/>
                      <a:pt x="55693" y="18457"/>
                    </a:cubicBezTo>
                    <a:cubicBezTo>
                      <a:pt x="49915" y="12840"/>
                      <a:pt x="41088" y="9951"/>
                      <a:pt x="29211" y="9951"/>
                    </a:cubicBezTo>
                    <a:lnTo>
                      <a:pt x="11716" y="9951"/>
                    </a:lnTo>
                    <a:lnTo>
                      <a:pt x="11716" y="79126"/>
                    </a:lnTo>
                    <a:close/>
                  </a:path>
                </a:pathLst>
              </a:custGeom>
              <a:solidFill>
                <a:srgbClr val="000000"/>
              </a:solidFill>
              <a:ln w="1598"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F234D024-410C-4CBC-1DF6-8D10BDA895DD}"/>
                  </a:ext>
                </a:extLst>
              </p:cNvPr>
              <p:cNvSpPr/>
              <p:nvPr/>
            </p:nvSpPr>
            <p:spPr>
              <a:xfrm>
                <a:off x="11419468" y="550935"/>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1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6 w 57618"/>
                  <a:gd name="connsiteY21" fmla="*/ 55051 h 65964"/>
                  <a:gd name="connsiteX22" fmla="*/ 53125 w 57618"/>
                  <a:gd name="connsiteY22" fmla="*/ 49594 h 65964"/>
                  <a:gd name="connsiteX23" fmla="*/ 56977 w 57618"/>
                  <a:gd name="connsiteY23" fmla="*/ 57619 h 65964"/>
                  <a:gd name="connsiteX24" fmla="*/ 46224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50"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1"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4" y="17334"/>
                      <a:pt x="43335" y="13803"/>
                    </a:cubicBezTo>
                    <a:cubicBezTo>
                      <a:pt x="40446"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6" y="56174"/>
                      <a:pt x="43656" y="55051"/>
                    </a:cubicBezTo>
                    <a:cubicBezTo>
                      <a:pt x="46866" y="53927"/>
                      <a:pt x="50075" y="52162"/>
                      <a:pt x="53125" y="49594"/>
                    </a:cubicBezTo>
                    <a:lnTo>
                      <a:pt x="56977" y="57619"/>
                    </a:lnTo>
                    <a:cubicBezTo>
                      <a:pt x="54088" y="60187"/>
                      <a:pt x="50557" y="62273"/>
                      <a:pt x="46224"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4F3050F0-5AED-922B-08DF-5BBC5FA08924}"/>
                  </a:ext>
                </a:extLst>
              </p:cNvPr>
              <p:cNvSpPr/>
              <p:nvPr/>
            </p:nvSpPr>
            <p:spPr>
              <a:xfrm>
                <a:off x="11482062" y="522045"/>
                <a:ext cx="44297" cy="93570"/>
              </a:xfrm>
              <a:custGeom>
                <a:avLst/>
                <a:gdLst>
                  <a:gd name="connsiteX0" fmla="*/ 12358 w 44297"/>
                  <a:gd name="connsiteY0" fmla="*/ 93570 h 93570"/>
                  <a:gd name="connsiteX1" fmla="*/ 12358 w 44297"/>
                  <a:gd name="connsiteY1" fmla="*/ 38841 h 93570"/>
                  <a:gd name="connsiteX2" fmla="*/ 0 w 44297"/>
                  <a:gd name="connsiteY2" fmla="*/ 38841 h 93570"/>
                  <a:gd name="connsiteX3" fmla="*/ 0 w 44297"/>
                  <a:gd name="connsiteY3" fmla="*/ 30013 h 93570"/>
                  <a:gd name="connsiteX4" fmla="*/ 15568 w 44297"/>
                  <a:gd name="connsiteY4" fmla="*/ 30013 h 93570"/>
                  <a:gd name="connsiteX5" fmla="*/ 12358 w 44297"/>
                  <a:gd name="connsiteY5" fmla="*/ 32902 h 93570"/>
                  <a:gd name="connsiteX6" fmla="*/ 12358 w 44297"/>
                  <a:gd name="connsiteY6" fmla="*/ 22630 h 93570"/>
                  <a:gd name="connsiteX7" fmla="*/ 17976 w 44297"/>
                  <a:gd name="connsiteY7" fmla="*/ 5778 h 93570"/>
                  <a:gd name="connsiteX8" fmla="*/ 34186 w 44297"/>
                  <a:gd name="connsiteY8" fmla="*/ 0 h 93570"/>
                  <a:gd name="connsiteX9" fmla="*/ 39483 w 44297"/>
                  <a:gd name="connsiteY9" fmla="*/ 321 h 93570"/>
                  <a:gd name="connsiteX10" fmla="*/ 44298 w 44297"/>
                  <a:gd name="connsiteY10" fmla="*/ 1605 h 93570"/>
                  <a:gd name="connsiteX11" fmla="*/ 44298 w 44297"/>
                  <a:gd name="connsiteY11" fmla="*/ 10914 h 93570"/>
                  <a:gd name="connsiteX12" fmla="*/ 40446 w 44297"/>
                  <a:gd name="connsiteY12" fmla="*/ 9951 h 93570"/>
                  <a:gd name="connsiteX13" fmla="*/ 35952 w 44297"/>
                  <a:gd name="connsiteY13" fmla="*/ 9630 h 93570"/>
                  <a:gd name="connsiteX14" fmla="*/ 29371 w 44297"/>
                  <a:gd name="connsiteY14" fmla="*/ 11074 h 93570"/>
                  <a:gd name="connsiteX15" fmla="*/ 25198 w 44297"/>
                  <a:gd name="connsiteY15" fmla="*/ 15568 h 93570"/>
                  <a:gd name="connsiteX16" fmla="*/ 23754 w 44297"/>
                  <a:gd name="connsiteY16" fmla="*/ 23272 h 93570"/>
                  <a:gd name="connsiteX17" fmla="*/ 23754 w 44297"/>
                  <a:gd name="connsiteY17" fmla="*/ 32260 h 93570"/>
                  <a:gd name="connsiteX18" fmla="*/ 21988 w 44297"/>
                  <a:gd name="connsiteY18" fmla="*/ 29853 h 93570"/>
                  <a:gd name="connsiteX19" fmla="*/ 41248 w 44297"/>
                  <a:gd name="connsiteY19" fmla="*/ 29853 h 93570"/>
                  <a:gd name="connsiteX20" fmla="*/ 41248 w 44297"/>
                  <a:gd name="connsiteY20" fmla="*/ 38680 h 93570"/>
                  <a:gd name="connsiteX21" fmla="*/ 23754 w 44297"/>
                  <a:gd name="connsiteY21" fmla="*/ 38680 h 93570"/>
                  <a:gd name="connsiteX22" fmla="*/ 23754 w 44297"/>
                  <a:gd name="connsiteY22" fmla="*/ 93410 h 93570"/>
                  <a:gd name="connsiteX23" fmla="*/ 12198 w 44297"/>
                  <a:gd name="connsiteY23" fmla="*/ 93410 h 9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297" h="93570">
                    <a:moveTo>
                      <a:pt x="12358" y="93570"/>
                    </a:moveTo>
                    <a:lnTo>
                      <a:pt x="12358" y="38841"/>
                    </a:lnTo>
                    <a:lnTo>
                      <a:pt x="0" y="38841"/>
                    </a:lnTo>
                    <a:lnTo>
                      <a:pt x="0" y="30013"/>
                    </a:lnTo>
                    <a:lnTo>
                      <a:pt x="15568" y="30013"/>
                    </a:lnTo>
                    <a:lnTo>
                      <a:pt x="12358" y="32902"/>
                    </a:lnTo>
                    <a:lnTo>
                      <a:pt x="12358" y="22630"/>
                    </a:lnTo>
                    <a:cubicBezTo>
                      <a:pt x="12358" y="15247"/>
                      <a:pt x="14284" y="9630"/>
                      <a:pt x="17976" y="5778"/>
                    </a:cubicBezTo>
                    <a:cubicBezTo>
                      <a:pt x="21667" y="1926"/>
                      <a:pt x="27124" y="0"/>
                      <a:pt x="34186" y="0"/>
                    </a:cubicBezTo>
                    <a:cubicBezTo>
                      <a:pt x="41248" y="0"/>
                      <a:pt x="37717" y="0"/>
                      <a:pt x="39483" y="321"/>
                    </a:cubicBezTo>
                    <a:cubicBezTo>
                      <a:pt x="41409" y="642"/>
                      <a:pt x="43014" y="963"/>
                      <a:pt x="44298" y="1605"/>
                    </a:cubicBezTo>
                    <a:lnTo>
                      <a:pt x="44298" y="10914"/>
                    </a:lnTo>
                    <a:cubicBezTo>
                      <a:pt x="43335" y="10432"/>
                      <a:pt x="42051" y="10111"/>
                      <a:pt x="40446" y="9951"/>
                    </a:cubicBezTo>
                    <a:cubicBezTo>
                      <a:pt x="39001" y="9630"/>
                      <a:pt x="37396" y="9630"/>
                      <a:pt x="35952" y="9630"/>
                    </a:cubicBezTo>
                    <a:cubicBezTo>
                      <a:pt x="33384" y="9630"/>
                      <a:pt x="31297" y="10111"/>
                      <a:pt x="29371" y="11074"/>
                    </a:cubicBezTo>
                    <a:cubicBezTo>
                      <a:pt x="27445" y="12037"/>
                      <a:pt x="26161" y="13642"/>
                      <a:pt x="25198" y="15568"/>
                    </a:cubicBezTo>
                    <a:cubicBezTo>
                      <a:pt x="24235" y="17494"/>
                      <a:pt x="23754" y="20062"/>
                      <a:pt x="23754" y="23272"/>
                    </a:cubicBezTo>
                    <a:lnTo>
                      <a:pt x="23754" y="32260"/>
                    </a:lnTo>
                    <a:lnTo>
                      <a:pt x="21988" y="29853"/>
                    </a:lnTo>
                    <a:lnTo>
                      <a:pt x="41248" y="29853"/>
                    </a:lnTo>
                    <a:lnTo>
                      <a:pt x="41248" y="38680"/>
                    </a:lnTo>
                    <a:lnTo>
                      <a:pt x="23754" y="38680"/>
                    </a:lnTo>
                    <a:lnTo>
                      <a:pt x="23754" y="93410"/>
                    </a:lnTo>
                    <a:lnTo>
                      <a:pt x="12198" y="93410"/>
                    </a:lnTo>
                    <a:close/>
                  </a:path>
                </a:pathLst>
              </a:custGeom>
              <a:solidFill>
                <a:srgbClr val="000000"/>
              </a:solidFill>
              <a:ln w="1598"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311DC96F-93C4-496C-FF36-5A42A86AD87A}"/>
                  </a:ext>
                </a:extLst>
              </p:cNvPr>
              <p:cNvSpPr/>
              <p:nvPr/>
            </p:nvSpPr>
            <p:spPr>
              <a:xfrm>
                <a:off x="11527483" y="550935"/>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0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5 w 57618"/>
                  <a:gd name="connsiteY21" fmla="*/ 55051 h 65964"/>
                  <a:gd name="connsiteX22" fmla="*/ 53125 w 57618"/>
                  <a:gd name="connsiteY22" fmla="*/ 49594 h 65964"/>
                  <a:gd name="connsiteX23" fmla="*/ 56977 w 57618"/>
                  <a:gd name="connsiteY23" fmla="*/ 57619 h 65964"/>
                  <a:gd name="connsiteX24" fmla="*/ 46223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49"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0"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3" y="17334"/>
                      <a:pt x="43335" y="13803"/>
                    </a:cubicBezTo>
                    <a:cubicBezTo>
                      <a:pt x="40445"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5" y="56174"/>
                      <a:pt x="43655" y="55051"/>
                    </a:cubicBezTo>
                    <a:cubicBezTo>
                      <a:pt x="46865" y="53927"/>
                      <a:pt x="50075" y="52162"/>
                      <a:pt x="53125" y="49594"/>
                    </a:cubicBezTo>
                    <a:lnTo>
                      <a:pt x="56977" y="57619"/>
                    </a:lnTo>
                    <a:cubicBezTo>
                      <a:pt x="54088" y="60187"/>
                      <a:pt x="50557" y="62273"/>
                      <a:pt x="46223"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02DB5D26-CEB9-B67A-E905-DFAB4543BE11}"/>
                  </a:ext>
                </a:extLst>
              </p:cNvPr>
              <p:cNvSpPr/>
              <p:nvPr/>
            </p:nvSpPr>
            <p:spPr>
              <a:xfrm>
                <a:off x="11597781" y="551095"/>
                <a:ext cx="56495" cy="64520"/>
              </a:xfrm>
              <a:custGeom>
                <a:avLst/>
                <a:gdLst>
                  <a:gd name="connsiteX0" fmla="*/ 1124 w 56495"/>
                  <a:gd name="connsiteY0" fmla="*/ 64520 h 64520"/>
                  <a:gd name="connsiteX1" fmla="*/ 1124 w 56495"/>
                  <a:gd name="connsiteY1" fmla="*/ 16050 h 64520"/>
                  <a:gd name="connsiteX2" fmla="*/ 802 w 56495"/>
                  <a:gd name="connsiteY2" fmla="*/ 8667 h 64520"/>
                  <a:gd name="connsiteX3" fmla="*/ 0 w 56495"/>
                  <a:gd name="connsiteY3" fmla="*/ 1124 h 64520"/>
                  <a:gd name="connsiteX4" fmla="*/ 11074 w 56495"/>
                  <a:gd name="connsiteY4" fmla="*/ 1124 h 64520"/>
                  <a:gd name="connsiteX5" fmla="*/ 12358 w 56495"/>
                  <a:gd name="connsiteY5" fmla="*/ 14766 h 64520"/>
                  <a:gd name="connsiteX6" fmla="*/ 10914 w 56495"/>
                  <a:gd name="connsiteY6" fmla="*/ 14766 h 64520"/>
                  <a:gd name="connsiteX7" fmla="*/ 19902 w 56495"/>
                  <a:gd name="connsiteY7" fmla="*/ 3852 h 64520"/>
                  <a:gd name="connsiteX8" fmla="*/ 34026 w 56495"/>
                  <a:gd name="connsiteY8" fmla="*/ 0 h 64520"/>
                  <a:gd name="connsiteX9" fmla="*/ 50878 w 56495"/>
                  <a:gd name="connsiteY9" fmla="*/ 6099 h 64520"/>
                  <a:gd name="connsiteX10" fmla="*/ 56495 w 56495"/>
                  <a:gd name="connsiteY10" fmla="*/ 25038 h 64520"/>
                  <a:gd name="connsiteX11" fmla="*/ 56495 w 56495"/>
                  <a:gd name="connsiteY11" fmla="*/ 64520 h 64520"/>
                  <a:gd name="connsiteX12" fmla="*/ 44940 w 56495"/>
                  <a:gd name="connsiteY12" fmla="*/ 64520 h 64520"/>
                  <a:gd name="connsiteX13" fmla="*/ 44940 w 56495"/>
                  <a:gd name="connsiteY13" fmla="*/ 25680 h 64520"/>
                  <a:gd name="connsiteX14" fmla="*/ 41569 w 56495"/>
                  <a:gd name="connsiteY14" fmla="*/ 13161 h 64520"/>
                  <a:gd name="connsiteX15" fmla="*/ 30976 w 56495"/>
                  <a:gd name="connsiteY15" fmla="*/ 9309 h 64520"/>
                  <a:gd name="connsiteX16" fmla="*/ 17334 w 56495"/>
                  <a:gd name="connsiteY16" fmla="*/ 14445 h 64520"/>
                  <a:gd name="connsiteX17" fmla="*/ 12358 w 56495"/>
                  <a:gd name="connsiteY17" fmla="*/ 28408 h 64520"/>
                  <a:gd name="connsiteX18" fmla="*/ 12358 w 56495"/>
                  <a:gd name="connsiteY18" fmla="*/ 64520 h 64520"/>
                  <a:gd name="connsiteX19" fmla="*/ 802 w 56495"/>
                  <a:gd name="connsiteY19" fmla="*/ 64520 h 6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495" h="64520">
                    <a:moveTo>
                      <a:pt x="1124" y="64520"/>
                    </a:moveTo>
                    <a:lnTo>
                      <a:pt x="1124" y="16050"/>
                    </a:lnTo>
                    <a:cubicBezTo>
                      <a:pt x="1124" y="13642"/>
                      <a:pt x="1124" y="11074"/>
                      <a:pt x="802" y="8667"/>
                    </a:cubicBezTo>
                    <a:cubicBezTo>
                      <a:pt x="642" y="6099"/>
                      <a:pt x="321" y="3691"/>
                      <a:pt x="0" y="1124"/>
                    </a:cubicBezTo>
                    <a:lnTo>
                      <a:pt x="11074" y="1124"/>
                    </a:lnTo>
                    <a:lnTo>
                      <a:pt x="12358" y="14766"/>
                    </a:lnTo>
                    <a:lnTo>
                      <a:pt x="10914" y="14766"/>
                    </a:lnTo>
                    <a:cubicBezTo>
                      <a:pt x="12840" y="9951"/>
                      <a:pt x="15889" y="6259"/>
                      <a:pt x="19902" y="3852"/>
                    </a:cubicBezTo>
                    <a:cubicBezTo>
                      <a:pt x="23914" y="1284"/>
                      <a:pt x="28729" y="0"/>
                      <a:pt x="34026" y="0"/>
                    </a:cubicBezTo>
                    <a:cubicBezTo>
                      <a:pt x="39322" y="0"/>
                      <a:pt x="47186" y="2086"/>
                      <a:pt x="50878" y="6099"/>
                    </a:cubicBezTo>
                    <a:cubicBezTo>
                      <a:pt x="54730" y="10111"/>
                      <a:pt x="56495" y="16531"/>
                      <a:pt x="56495" y="25038"/>
                    </a:cubicBezTo>
                    <a:lnTo>
                      <a:pt x="56495" y="64520"/>
                    </a:lnTo>
                    <a:lnTo>
                      <a:pt x="44940" y="64520"/>
                    </a:lnTo>
                    <a:lnTo>
                      <a:pt x="44940" y="25680"/>
                    </a:lnTo>
                    <a:cubicBezTo>
                      <a:pt x="44940" y="19902"/>
                      <a:pt x="43816" y="15729"/>
                      <a:pt x="41569" y="13161"/>
                    </a:cubicBezTo>
                    <a:cubicBezTo>
                      <a:pt x="39322" y="10593"/>
                      <a:pt x="35791" y="9309"/>
                      <a:pt x="30976" y="9309"/>
                    </a:cubicBezTo>
                    <a:cubicBezTo>
                      <a:pt x="26161" y="9309"/>
                      <a:pt x="20704" y="11074"/>
                      <a:pt x="17334" y="14445"/>
                    </a:cubicBezTo>
                    <a:cubicBezTo>
                      <a:pt x="13963" y="17976"/>
                      <a:pt x="12358" y="22630"/>
                      <a:pt x="12358" y="28408"/>
                    </a:cubicBezTo>
                    <a:lnTo>
                      <a:pt x="12358" y="64520"/>
                    </a:lnTo>
                    <a:lnTo>
                      <a:pt x="802" y="64520"/>
                    </a:lnTo>
                    <a:close/>
                  </a:path>
                </a:pathLst>
              </a:custGeom>
              <a:solidFill>
                <a:srgbClr val="000000"/>
              </a:solidFill>
              <a:ln w="1598"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33957D2A-5209-CBF9-9E80-F47C18134882}"/>
                  </a:ext>
                </a:extLst>
              </p:cNvPr>
              <p:cNvSpPr/>
              <p:nvPr/>
            </p:nvSpPr>
            <p:spPr>
              <a:xfrm>
                <a:off x="11668401" y="550774"/>
                <a:ext cx="50717" cy="66125"/>
              </a:xfrm>
              <a:custGeom>
                <a:avLst/>
                <a:gdLst>
                  <a:gd name="connsiteX0" fmla="*/ 25198 w 50717"/>
                  <a:gd name="connsiteY0" fmla="*/ 66125 h 66125"/>
                  <a:gd name="connsiteX1" fmla="*/ 10914 w 50717"/>
                  <a:gd name="connsiteY1" fmla="*/ 64039 h 66125"/>
                  <a:gd name="connsiteX2" fmla="*/ 0 w 50717"/>
                  <a:gd name="connsiteY2" fmla="*/ 58261 h 66125"/>
                  <a:gd name="connsiteX3" fmla="*/ 3691 w 50717"/>
                  <a:gd name="connsiteY3" fmla="*/ 50236 h 66125"/>
                  <a:gd name="connsiteX4" fmla="*/ 13963 w 50717"/>
                  <a:gd name="connsiteY4" fmla="*/ 55532 h 66125"/>
                  <a:gd name="connsiteX5" fmla="*/ 25519 w 50717"/>
                  <a:gd name="connsiteY5" fmla="*/ 57298 h 66125"/>
                  <a:gd name="connsiteX6" fmla="*/ 36433 w 50717"/>
                  <a:gd name="connsiteY6" fmla="*/ 54569 h 66125"/>
                  <a:gd name="connsiteX7" fmla="*/ 40125 w 50717"/>
                  <a:gd name="connsiteY7" fmla="*/ 47507 h 66125"/>
                  <a:gd name="connsiteX8" fmla="*/ 37717 w 50717"/>
                  <a:gd name="connsiteY8" fmla="*/ 41890 h 66125"/>
                  <a:gd name="connsiteX9" fmla="*/ 30174 w 50717"/>
                  <a:gd name="connsiteY9" fmla="*/ 38680 h 66125"/>
                  <a:gd name="connsiteX10" fmla="*/ 18136 w 50717"/>
                  <a:gd name="connsiteY10" fmla="*/ 36273 h 66125"/>
                  <a:gd name="connsiteX11" fmla="*/ 5938 w 50717"/>
                  <a:gd name="connsiteY11" fmla="*/ 30174 h 66125"/>
                  <a:gd name="connsiteX12" fmla="*/ 1765 w 50717"/>
                  <a:gd name="connsiteY12" fmla="*/ 19260 h 66125"/>
                  <a:gd name="connsiteX13" fmla="*/ 4815 w 50717"/>
                  <a:gd name="connsiteY13" fmla="*/ 9309 h 66125"/>
                  <a:gd name="connsiteX14" fmla="*/ 13482 w 50717"/>
                  <a:gd name="connsiteY14" fmla="*/ 2407 h 66125"/>
                  <a:gd name="connsiteX15" fmla="*/ 26643 w 50717"/>
                  <a:gd name="connsiteY15" fmla="*/ 0 h 66125"/>
                  <a:gd name="connsiteX16" fmla="*/ 39643 w 50717"/>
                  <a:gd name="connsiteY16" fmla="*/ 2086 h 66125"/>
                  <a:gd name="connsiteX17" fmla="*/ 49594 w 50717"/>
                  <a:gd name="connsiteY17" fmla="*/ 8025 h 66125"/>
                  <a:gd name="connsiteX18" fmla="*/ 45742 w 50717"/>
                  <a:gd name="connsiteY18" fmla="*/ 15729 h 66125"/>
                  <a:gd name="connsiteX19" fmla="*/ 36915 w 50717"/>
                  <a:gd name="connsiteY19" fmla="*/ 10432 h 66125"/>
                  <a:gd name="connsiteX20" fmla="*/ 26964 w 50717"/>
                  <a:gd name="connsiteY20" fmla="*/ 8667 h 66125"/>
                  <a:gd name="connsiteX21" fmla="*/ 16050 w 50717"/>
                  <a:gd name="connsiteY21" fmla="*/ 11556 h 66125"/>
                  <a:gd name="connsiteX22" fmla="*/ 12519 w 50717"/>
                  <a:gd name="connsiteY22" fmla="*/ 18939 h 66125"/>
                  <a:gd name="connsiteX23" fmla="*/ 14605 w 50717"/>
                  <a:gd name="connsiteY23" fmla="*/ 24556 h 66125"/>
                  <a:gd name="connsiteX24" fmla="*/ 21507 w 50717"/>
                  <a:gd name="connsiteY24" fmla="*/ 27927 h 66125"/>
                  <a:gd name="connsiteX25" fmla="*/ 33544 w 50717"/>
                  <a:gd name="connsiteY25" fmla="*/ 30334 h 66125"/>
                  <a:gd name="connsiteX26" fmla="*/ 46384 w 50717"/>
                  <a:gd name="connsiteY26" fmla="*/ 36112 h 66125"/>
                  <a:gd name="connsiteX27" fmla="*/ 50717 w 50717"/>
                  <a:gd name="connsiteY27" fmla="*/ 46865 h 66125"/>
                  <a:gd name="connsiteX28" fmla="*/ 47507 w 50717"/>
                  <a:gd name="connsiteY28" fmla="*/ 57137 h 66125"/>
                  <a:gd name="connsiteX29" fmla="*/ 38520 w 50717"/>
                  <a:gd name="connsiteY29" fmla="*/ 63718 h 66125"/>
                  <a:gd name="connsiteX30" fmla="*/ 25038 w 50717"/>
                  <a:gd name="connsiteY30" fmla="*/ 65965 h 6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717" h="66125">
                    <a:moveTo>
                      <a:pt x="25198" y="66125"/>
                    </a:moveTo>
                    <a:cubicBezTo>
                      <a:pt x="20062" y="66125"/>
                      <a:pt x="15247" y="65483"/>
                      <a:pt x="10914" y="64039"/>
                    </a:cubicBezTo>
                    <a:cubicBezTo>
                      <a:pt x="6420" y="62755"/>
                      <a:pt x="2889" y="60829"/>
                      <a:pt x="0" y="58261"/>
                    </a:cubicBezTo>
                    <a:lnTo>
                      <a:pt x="3691" y="50236"/>
                    </a:lnTo>
                    <a:cubicBezTo>
                      <a:pt x="6741" y="52643"/>
                      <a:pt x="10272" y="54409"/>
                      <a:pt x="13963" y="55532"/>
                    </a:cubicBezTo>
                    <a:cubicBezTo>
                      <a:pt x="17655" y="56816"/>
                      <a:pt x="21507" y="57298"/>
                      <a:pt x="25519" y="57298"/>
                    </a:cubicBezTo>
                    <a:cubicBezTo>
                      <a:pt x="29532" y="57298"/>
                      <a:pt x="34026" y="56335"/>
                      <a:pt x="36433" y="54569"/>
                    </a:cubicBezTo>
                    <a:cubicBezTo>
                      <a:pt x="38841" y="52804"/>
                      <a:pt x="40125" y="50396"/>
                      <a:pt x="40125" y="47507"/>
                    </a:cubicBezTo>
                    <a:cubicBezTo>
                      <a:pt x="40125" y="44619"/>
                      <a:pt x="39322" y="43174"/>
                      <a:pt x="37717" y="41890"/>
                    </a:cubicBezTo>
                    <a:cubicBezTo>
                      <a:pt x="36112" y="40446"/>
                      <a:pt x="33544" y="39483"/>
                      <a:pt x="30174" y="38680"/>
                    </a:cubicBezTo>
                    <a:lnTo>
                      <a:pt x="18136" y="36273"/>
                    </a:lnTo>
                    <a:cubicBezTo>
                      <a:pt x="12679" y="34989"/>
                      <a:pt x="8667" y="32902"/>
                      <a:pt x="5938" y="30174"/>
                    </a:cubicBezTo>
                    <a:cubicBezTo>
                      <a:pt x="3210" y="27285"/>
                      <a:pt x="1765" y="23754"/>
                      <a:pt x="1765" y="19260"/>
                    </a:cubicBezTo>
                    <a:cubicBezTo>
                      <a:pt x="1765" y="14766"/>
                      <a:pt x="2728" y="12198"/>
                      <a:pt x="4815" y="9309"/>
                    </a:cubicBezTo>
                    <a:cubicBezTo>
                      <a:pt x="6901" y="6420"/>
                      <a:pt x="9790" y="4173"/>
                      <a:pt x="13482" y="2407"/>
                    </a:cubicBezTo>
                    <a:cubicBezTo>
                      <a:pt x="17173" y="802"/>
                      <a:pt x="21667" y="0"/>
                      <a:pt x="26643" y="0"/>
                    </a:cubicBezTo>
                    <a:cubicBezTo>
                      <a:pt x="31618" y="0"/>
                      <a:pt x="35631" y="642"/>
                      <a:pt x="39643" y="2086"/>
                    </a:cubicBezTo>
                    <a:cubicBezTo>
                      <a:pt x="43656" y="3370"/>
                      <a:pt x="47026" y="5457"/>
                      <a:pt x="49594" y="8025"/>
                    </a:cubicBezTo>
                    <a:lnTo>
                      <a:pt x="45742" y="15729"/>
                    </a:lnTo>
                    <a:cubicBezTo>
                      <a:pt x="43174" y="13482"/>
                      <a:pt x="40125" y="11716"/>
                      <a:pt x="36915" y="10432"/>
                    </a:cubicBezTo>
                    <a:cubicBezTo>
                      <a:pt x="33705" y="9148"/>
                      <a:pt x="30334" y="8667"/>
                      <a:pt x="26964" y="8667"/>
                    </a:cubicBezTo>
                    <a:cubicBezTo>
                      <a:pt x="22149" y="8667"/>
                      <a:pt x="18457" y="9630"/>
                      <a:pt x="16050" y="11556"/>
                    </a:cubicBezTo>
                    <a:cubicBezTo>
                      <a:pt x="13642" y="13482"/>
                      <a:pt x="12519" y="15889"/>
                      <a:pt x="12519" y="18939"/>
                    </a:cubicBezTo>
                    <a:cubicBezTo>
                      <a:pt x="12519" y="21988"/>
                      <a:pt x="13161" y="23112"/>
                      <a:pt x="14605" y="24556"/>
                    </a:cubicBezTo>
                    <a:cubicBezTo>
                      <a:pt x="16050" y="26001"/>
                      <a:pt x="18297" y="27124"/>
                      <a:pt x="21507" y="27927"/>
                    </a:cubicBezTo>
                    <a:lnTo>
                      <a:pt x="33544" y="30334"/>
                    </a:lnTo>
                    <a:cubicBezTo>
                      <a:pt x="39162" y="31458"/>
                      <a:pt x="43495" y="33384"/>
                      <a:pt x="46384" y="36112"/>
                    </a:cubicBezTo>
                    <a:cubicBezTo>
                      <a:pt x="49273" y="38841"/>
                      <a:pt x="50717" y="42372"/>
                      <a:pt x="50717" y="46865"/>
                    </a:cubicBezTo>
                    <a:cubicBezTo>
                      <a:pt x="50717" y="51359"/>
                      <a:pt x="49594" y="54248"/>
                      <a:pt x="47507" y="57137"/>
                    </a:cubicBezTo>
                    <a:cubicBezTo>
                      <a:pt x="45421" y="60026"/>
                      <a:pt x="42371" y="62113"/>
                      <a:pt x="38520" y="63718"/>
                    </a:cubicBezTo>
                    <a:cubicBezTo>
                      <a:pt x="34668" y="65162"/>
                      <a:pt x="30174" y="65965"/>
                      <a:pt x="25038" y="65965"/>
                    </a:cubicBezTo>
                    <a:close/>
                  </a:path>
                </a:pathLst>
              </a:custGeom>
              <a:solidFill>
                <a:srgbClr val="000000"/>
              </a:solidFill>
              <a:ln w="1598"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A1AB265C-D710-0C03-3145-8ED6FAD931CF}"/>
                  </a:ext>
                </a:extLst>
              </p:cNvPr>
              <p:cNvSpPr/>
              <p:nvPr/>
            </p:nvSpPr>
            <p:spPr>
              <a:xfrm>
                <a:off x="11729871" y="550935"/>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0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5 w 57618"/>
                  <a:gd name="connsiteY21" fmla="*/ 55051 h 65964"/>
                  <a:gd name="connsiteX22" fmla="*/ 53125 w 57618"/>
                  <a:gd name="connsiteY22" fmla="*/ 49594 h 65964"/>
                  <a:gd name="connsiteX23" fmla="*/ 56977 w 57618"/>
                  <a:gd name="connsiteY23" fmla="*/ 57619 h 65964"/>
                  <a:gd name="connsiteX24" fmla="*/ 46224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50"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0"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4" y="17334"/>
                      <a:pt x="43335" y="13803"/>
                    </a:cubicBezTo>
                    <a:cubicBezTo>
                      <a:pt x="40445"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5" y="56174"/>
                      <a:pt x="43655" y="55051"/>
                    </a:cubicBezTo>
                    <a:cubicBezTo>
                      <a:pt x="46865" y="53927"/>
                      <a:pt x="50075" y="52162"/>
                      <a:pt x="53125" y="49594"/>
                    </a:cubicBezTo>
                    <a:lnTo>
                      <a:pt x="56977" y="57619"/>
                    </a:lnTo>
                    <a:cubicBezTo>
                      <a:pt x="54088" y="60187"/>
                      <a:pt x="50557" y="62273"/>
                      <a:pt x="46224"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grpSp>
      </p:grpSp>
      <p:pic>
        <p:nvPicPr>
          <p:cNvPr id="8" name="Graphic 7">
            <a:extLst>
              <a:ext uri="{FF2B5EF4-FFF2-40B4-BE49-F238E27FC236}">
                <a16:creationId xmlns:a16="http://schemas.microsoft.com/office/drawing/2014/main" id="{633DF802-70E8-6B49-8ADA-C27FDA51D5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73A5F19-847C-653E-C685-D0EC24D1F3C8}"/>
              </a:ext>
            </a:extLst>
          </p:cNvPr>
          <p:cNvSpPr>
            <a:spLocks noGrp="1"/>
          </p:cNvSpPr>
          <p:nvPr>
            <p:ph type="title"/>
          </p:nvPr>
        </p:nvSpPr>
        <p:spPr>
          <a:xfrm>
            <a:off x="540000" y="1709738"/>
            <a:ext cx="6480000" cy="3024000"/>
          </a:xfrm>
        </p:spPr>
        <p:txBody>
          <a:bodyPr anchor="b"/>
          <a:lstStyle>
            <a:lvl1pPr>
              <a:lnSpc>
                <a:spcPct val="100000"/>
              </a:lnSpc>
              <a:defRPr sz="4800">
                <a:solidFill>
                  <a:schemeClr val="accent3"/>
                </a:solidFill>
                <a:latin typeface="+mn-lt"/>
              </a:defRPr>
            </a:lvl1pPr>
          </a:lstStyle>
          <a:p>
            <a:r>
              <a:rPr lang="en-US"/>
              <a:t>Click to edit Master title style</a:t>
            </a:r>
            <a:endParaRPr lang="nl-NL" dirty="0"/>
          </a:p>
        </p:txBody>
      </p:sp>
      <p:sp>
        <p:nvSpPr>
          <p:cNvPr id="16" name="TextBox 15">
            <a:extLst>
              <a:ext uri="{FF2B5EF4-FFF2-40B4-BE49-F238E27FC236}">
                <a16:creationId xmlns:a16="http://schemas.microsoft.com/office/drawing/2014/main" id="{70F96CF0-1106-6329-D87A-E13B23A6C90F}"/>
              </a:ext>
            </a:extLst>
          </p:cNvPr>
          <p:cNvSpPr txBox="1"/>
          <p:nvPr/>
        </p:nvSpPr>
        <p:spPr>
          <a:xfrm>
            <a:off x="900000" y="6408000"/>
            <a:ext cx="316400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rgbClr val="000000"/>
                </a:solidFill>
                <a:effectLst/>
                <a:uLnTx/>
                <a:uFillTx/>
                <a:latin typeface="Aptos Regular"/>
                <a:ea typeface="+mn-ea"/>
                <a:cs typeface="+mn-cs"/>
              </a:rPr>
              <a:t>SES Space &amp; Defense Proprietary and Confidential</a:t>
            </a:r>
            <a:endParaRPr lang="en-GB" sz="800" dirty="0"/>
          </a:p>
        </p:txBody>
      </p:sp>
      <p:sp>
        <p:nvSpPr>
          <p:cNvPr id="20" name="Footer Placeholder 19">
            <a:extLst>
              <a:ext uri="{FF2B5EF4-FFF2-40B4-BE49-F238E27FC236}">
                <a16:creationId xmlns:a16="http://schemas.microsoft.com/office/drawing/2014/main" id="{37582FF6-47DA-3EDB-FB41-1760598B9BBD}"/>
              </a:ext>
            </a:extLst>
          </p:cNvPr>
          <p:cNvSpPr>
            <a:spLocks noGrp="1"/>
          </p:cNvSpPr>
          <p:nvPr>
            <p:ph type="ftr" sz="quarter" idx="11"/>
          </p:nvPr>
        </p:nvSpPr>
        <p:spPr/>
        <p:txBody>
          <a:bodyPr/>
          <a:lstStyle/>
          <a:p>
            <a:endParaRPr lang="en-US"/>
          </a:p>
        </p:txBody>
      </p:sp>
      <p:sp>
        <p:nvSpPr>
          <p:cNvPr id="21" name="Slide Number Placeholder 20">
            <a:extLst>
              <a:ext uri="{FF2B5EF4-FFF2-40B4-BE49-F238E27FC236}">
                <a16:creationId xmlns:a16="http://schemas.microsoft.com/office/drawing/2014/main" id="{731F32EB-955F-47AE-7729-21D8E94BBCF2}"/>
              </a:ext>
            </a:extLst>
          </p:cNvPr>
          <p:cNvSpPr>
            <a:spLocks noGrp="1"/>
          </p:cNvSpPr>
          <p:nvPr>
            <p:ph type="sldNum" sz="quarter" idx="12"/>
          </p:nvPr>
        </p:nvSpPr>
        <p:spPr/>
        <p:txBody>
          <a:bodyPr/>
          <a:lstStyle/>
          <a:p>
            <a:fld id="{CAD289FC-94DA-414F-BF09-0C2EF808B77F}" type="slidenum">
              <a:rPr lang="en-US" smtClean="0"/>
              <a:t>‹#›</a:t>
            </a:fld>
            <a:endParaRPr lang="en-US"/>
          </a:p>
        </p:txBody>
      </p:sp>
      <p:sp>
        <p:nvSpPr>
          <p:cNvPr id="22" name="TextBox 21">
            <a:extLst>
              <a:ext uri="{FF2B5EF4-FFF2-40B4-BE49-F238E27FC236}">
                <a16:creationId xmlns:a16="http://schemas.microsoft.com/office/drawing/2014/main" id="{DD969F76-63EF-DBB8-E90E-6CEA8F076BC1}"/>
              </a:ext>
            </a:extLst>
          </p:cNvPr>
          <p:cNvSpPr txBox="1"/>
          <p:nvPr/>
        </p:nvSpPr>
        <p:spPr>
          <a:xfrm>
            <a:off x="545524" y="-338593"/>
            <a:ext cx="1227900" cy="184666"/>
          </a:xfrm>
          <a:prstGeom prst="rect">
            <a:avLst/>
          </a:prstGeom>
          <a:noFill/>
        </p:spPr>
        <p:txBody>
          <a:bodyPr wrap="none" lIns="0" tIns="0" rIns="0" bIns="0" rtlCol="0">
            <a:spAutoFit/>
          </a:bodyPr>
          <a:lstStyle/>
          <a:p>
            <a:r>
              <a:rPr lang="en-GB" sz="1200" b="1" dirty="0">
                <a:solidFill>
                  <a:schemeClr val="accent1"/>
                </a:solidFill>
              </a:rPr>
              <a:t>Section slide</a:t>
            </a:r>
            <a:r>
              <a:rPr lang="en-GB" sz="1200" dirty="0">
                <a:solidFill>
                  <a:schemeClr val="accent1"/>
                </a:solidFill>
              </a:rPr>
              <a:t> light</a:t>
            </a:r>
          </a:p>
        </p:txBody>
      </p:sp>
      <p:cxnSp>
        <p:nvCxnSpPr>
          <p:cNvPr id="23" name="Straight Connector 22">
            <a:extLst>
              <a:ext uri="{FF2B5EF4-FFF2-40B4-BE49-F238E27FC236}">
                <a16:creationId xmlns:a16="http://schemas.microsoft.com/office/drawing/2014/main" id="{03D7812F-3310-A4E5-F087-22A9AB21F4DF}"/>
              </a:ext>
            </a:extLst>
          </p:cNvPr>
          <p:cNvCxnSpPr>
            <a:cxnSpLocks/>
          </p:cNvCxnSpPr>
          <p:nvPr/>
        </p:nvCxnSpPr>
        <p:spPr>
          <a:xfrm flipH="1">
            <a:off x="-828000" y="17028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12321BCE-B99C-AC6B-B51C-9B6DE1ABAB32}"/>
              </a:ext>
            </a:extLst>
          </p:cNvPr>
          <p:cNvCxnSpPr>
            <a:cxnSpLocks/>
          </p:cNvCxnSpPr>
          <p:nvPr/>
        </p:nvCxnSpPr>
        <p:spPr>
          <a:xfrm flipH="1">
            <a:off x="-828000" y="62316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765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Section Header - Dark">
    <p:bg>
      <p:bgRef idx="1001">
        <a:schemeClr val="bg2"/>
      </p:bgRef>
    </p:bg>
    <p:spTree>
      <p:nvGrpSpPr>
        <p:cNvPr id="1" name=""/>
        <p:cNvGrpSpPr/>
        <p:nvPr/>
      </p:nvGrpSpPr>
      <p:grpSpPr>
        <a:xfrm>
          <a:off x="0" y="0"/>
          <a:ext cx="0" cy="0"/>
          <a:chOff x="0" y="0"/>
          <a:chExt cx="0" cy="0"/>
        </a:xfrm>
      </p:grpSpPr>
      <p:pic>
        <p:nvPicPr>
          <p:cNvPr id="3" name="Picture 15">
            <a:extLst>
              <a:ext uri="{FF2B5EF4-FFF2-40B4-BE49-F238E27FC236}">
                <a16:creationId xmlns:a16="http://schemas.microsoft.com/office/drawing/2014/main" id="{ABA258CD-7B2E-87E0-54BD-364D9BD60D97}"/>
              </a:ext>
            </a:extLst>
          </p:cNvPr>
          <p:cNvPicPr>
            <a:picLocks noChangeAspect="1"/>
          </p:cNvPicPr>
          <p:nvPr/>
        </p:nvPicPr>
        <p:blipFill>
          <a:blip r:embed="rId2">
            <a:extLst>
              <a:ext uri="{96DAC541-7B7A-43D3-8B79-37D633B846F1}">
                <asvg:svgBlip xmlns:asvg="http://schemas.microsoft.com/office/drawing/2016/SVG/main" r:embed="rId3"/>
              </a:ext>
            </a:extLst>
          </a:blip>
          <a:srcRect l="2396" t="2396"/>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73A5F19-847C-653E-C685-D0EC24D1F3C8}"/>
              </a:ext>
            </a:extLst>
          </p:cNvPr>
          <p:cNvSpPr>
            <a:spLocks noGrp="1"/>
          </p:cNvSpPr>
          <p:nvPr>
            <p:ph type="title"/>
          </p:nvPr>
        </p:nvSpPr>
        <p:spPr>
          <a:xfrm>
            <a:off x="540000" y="1709738"/>
            <a:ext cx="6480000" cy="3024000"/>
          </a:xfrm>
        </p:spPr>
        <p:txBody>
          <a:bodyPr anchor="b"/>
          <a:lstStyle>
            <a:lvl1pPr>
              <a:lnSpc>
                <a:spcPct val="100000"/>
              </a:lnSpc>
              <a:defRPr sz="4800">
                <a:solidFill>
                  <a:schemeClr val="tx1"/>
                </a:solidFill>
                <a:latin typeface="+mn-lt"/>
              </a:defRPr>
            </a:lvl1pPr>
          </a:lstStyle>
          <a:p>
            <a:r>
              <a:rPr lang="en-US"/>
              <a:t>Click to edit Master title style</a:t>
            </a:r>
            <a:endParaRPr lang="nl-NL" dirty="0"/>
          </a:p>
        </p:txBody>
      </p:sp>
      <p:sp>
        <p:nvSpPr>
          <p:cNvPr id="16" name="TextBox 15">
            <a:extLst>
              <a:ext uri="{FF2B5EF4-FFF2-40B4-BE49-F238E27FC236}">
                <a16:creationId xmlns:a16="http://schemas.microsoft.com/office/drawing/2014/main" id="{70F96CF0-1106-6329-D87A-E13B23A6C90F}"/>
              </a:ext>
            </a:extLst>
          </p:cNvPr>
          <p:cNvSpPr txBox="1"/>
          <p:nvPr/>
        </p:nvSpPr>
        <p:spPr>
          <a:xfrm>
            <a:off x="900000" y="6408000"/>
            <a:ext cx="271188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tx1"/>
                </a:solidFill>
                <a:effectLst/>
                <a:uLnTx/>
                <a:uFillTx/>
                <a:latin typeface="Aptos Regular"/>
                <a:ea typeface="+mn-ea"/>
                <a:cs typeface="+mn-cs"/>
              </a:rPr>
              <a:t>SES Space &amp; Defense Proprietary and Confidential</a:t>
            </a:r>
            <a:endParaRPr lang="en-GB" sz="800" dirty="0">
              <a:solidFill>
                <a:schemeClr val="tx1"/>
              </a:solidFill>
            </a:endParaRPr>
          </a:p>
        </p:txBody>
      </p:sp>
      <p:sp>
        <p:nvSpPr>
          <p:cNvPr id="20" name="Footer Placeholder 19">
            <a:extLst>
              <a:ext uri="{FF2B5EF4-FFF2-40B4-BE49-F238E27FC236}">
                <a16:creationId xmlns:a16="http://schemas.microsoft.com/office/drawing/2014/main" id="{37582FF6-47DA-3EDB-FB41-1760598B9BBD}"/>
              </a:ext>
            </a:extLst>
          </p:cNvPr>
          <p:cNvSpPr>
            <a:spLocks noGrp="1"/>
          </p:cNvSpPr>
          <p:nvPr>
            <p:ph type="ftr" sz="quarter" idx="11"/>
          </p:nvPr>
        </p:nvSpPr>
        <p:spPr/>
        <p:txBody>
          <a:bodyPr/>
          <a:lstStyle/>
          <a:p>
            <a:endParaRPr lang="en-US"/>
          </a:p>
        </p:txBody>
      </p:sp>
      <p:sp>
        <p:nvSpPr>
          <p:cNvPr id="21" name="Slide Number Placeholder 20">
            <a:extLst>
              <a:ext uri="{FF2B5EF4-FFF2-40B4-BE49-F238E27FC236}">
                <a16:creationId xmlns:a16="http://schemas.microsoft.com/office/drawing/2014/main" id="{731F32EB-955F-47AE-7729-21D8E94BBCF2}"/>
              </a:ext>
            </a:extLst>
          </p:cNvPr>
          <p:cNvSpPr>
            <a:spLocks noGrp="1"/>
          </p:cNvSpPr>
          <p:nvPr>
            <p:ph type="sldNum" sz="quarter" idx="12"/>
          </p:nvPr>
        </p:nvSpPr>
        <p:spPr/>
        <p:txBody>
          <a:bodyPr/>
          <a:lstStyle/>
          <a:p>
            <a:fld id="{CAD289FC-94DA-414F-BF09-0C2EF808B77F}" type="slidenum">
              <a:rPr lang="en-US" smtClean="0"/>
              <a:t>‹#›</a:t>
            </a:fld>
            <a:endParaRPr lang="en-US"/>
          </a:p>
        </p:txBody>
      </p:sp>
      <p:sp>
        <p:nvSpPr>
          <p:cNvPr id="4" name="TextBox 3">
            <a:extLst>
              <a:ext uri="{FF2B5EF4-FFF2-40B4-BE49-F238E27FC236}">
                <a16:creationId xmlns:a16="http://schemas.microsoft.com/office/drawing/2014/main" id="{B3E7AA6E-AFCF-F274-1B4F-4AB013532A67}"/>
              </a:ext>
            </a:extLst>
          </p:cNvPr>
          <p:cNvSpPr txBox="1"/>
          <p:nvPr/>
        </p:nvSpPr>
        <p:spPr>
          <a:xfrm>
            <a:off x="545524" y="-338593"/>
            <a:ext cx="1235916" cy="184666"/>
          </a:xfrm>
          <a:prstGeom prst="rect">
            <a:avLst/>
          </a:prstGeom>
          <a:noFill/>
        </p:spPr>
        <p:txBody>
          <a:bodyPr wrap="none" lIns="0" tIns="0" rIns="0" bIns="0" rtlCol="0">
            <a:spAutoFit/>
          </a:bodyPr>
          <a:lstStyle/>
          <a:p>
            <a:r>
              <a:rPr lang="en-GB" sz="1200" b="1" dirty="0">
                <a:solidFill>
                  <a:schemeClr val="accent1"/>
                </a:solidFill>
              </a:rPr>
              <a:t>Section slide</a:t>
            </a:r>
            <a:r>
              <a:rPr lang="en-GB" sz="1200" dirty="0">
                <a:solidFill>
                  <a:schemeClr val="accent1"/>
                </a:solidFill>
              </a:rPr>
              <a:t> dark</a:t>
            </a:r>
          </a:p>
        </p:txBody>
      </p:sp>
      <p:cxnSp>
        <p:nvCxnSpPr>
          <p:cNvPr id="5" name="Straight Connector 4">
            <a:extLst>
              <a:ext uri="{FF2B5EF4-FFF2-40B4-BE49-F238E27FC236}">
                <a16:creationId xmlns:a16="http://schemas.microsoft.com/office/drawing/2014/main" id="{9DFC78BC-2273-A563-891C-B7113EBFBF30}"/>
              </a:ext>
            </a:extLst>
          </p:cNvPr>
          <p:cNvCxnSpPr>
            <a:cxnSpLocks/>
          </p:cNvCxnSpPr>
          <p:nvPr/>
        </p:nvCxnSpPr>
        <p:spPr>
          <a:xfrm flipH="1">
            <a:off x="-828000" y="17028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9A38FB2-3990-4085-9F34-70F9029174D2}"/>
              </a:ext>
            </a:extLst>
          </p:cNvPr>
          <p:cNvCxnSpPr>
            <a:cxnSpLocks/>
          </p:cNvCxnSpPr>
          <p:nvPr/>
        </p:nvCxnSpPr>
        <p:spPr>
          <a:xfrm flipH="1">
            <a:off x="-828000" y="62316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67" name="Graphic 7">
            <a:extLst>
              <a:ext uri="{FF2B5EF4-FFF2-40B4-BE49-F238E27FC236}">
                <a16:creationId xmlns:a16="http://schemas.microsoft.com/office/drawing/2014/main" id="{2C553A17-9AF4-8B6C-C8B0-5C04808941E6}"/>
              </a:ext>
            </a:extLst>
          </p:cNvPr>
          <p:cNvGrpSpPr/>
          <p:nvPr/>
        </p:nvGrpSpPr>
        <p:grpSpPr>
          <a:xfrm>
            <a:off x="536806" y="354697"/>
            <a:ext cx="1484313" cy="313023"/>
            <a:chOff x="2534931" y="608064"/>
            <a:chExt cx="1484313" cy="313023"/>
          </a:xfrm>
          <a:solidFill>
            <a:schemeClr val="tx1"/>
          </a:solidFill>
        </p:grpSpPr>
        <p:sp>
          <p:nvSpPr>
            <p:cNvPr id="68" name="Freeform: Shape 67">
              <a:extLst>
                <a:ext uri="{FF2B5EF4-FFF2-40B4-BE49-F238E27FC236}">
                  <a16:creationId xmlns:a16="http://schemas.microsoft.com/office/drawing/2014/main" id="{303464F6-6F27-4764-CF0A-09D306900E50}"/>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8BD69136-D5F5-2C58-F94D-79F6F9080D15}"/>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5610B562-57E6-837D-83B8-3B415664D746}"/>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C593EEE-A806-472C-6E3A-1440B249CDD3}"/>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969E47BD-10A8-0413-0527-DD8380D042DB}"/>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F464E51D-0675-6248-0324-E23859EBE70C}"/>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9D5CE64-5F21-8244-B910-85B2BABCD85A}"/>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8192AD8-87DB-2D15-E16B-336125F6EBC2}"/>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9144E719-4452-08A8-7CBE-D3A7BA233BE5}"/>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A09EBC2B-9718-7979-BF29-094EFBD20234}"/>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0AB30DA-F2B9-976C-B1EC-A33EC9EF059E}"/>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27C517C-FF34-3FE1-207C-AA43063E93AF}"/>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8BD71EC1-2974-56EF-99D5-19D999B95B72}"/>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BDC37C73-CD5D-AE6A-6FB3-E001235697AB}"/>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093899CE-666F-66EE-5CEC-182FADC84F51}"/>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F761B66-76B3-77DD-EA1A-181F781D68FD}"/>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8AF4950-76F5-C2A8-D59B-C82BD39E7DAC}"/>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71170078-5016-CA14-4FC8-5A4FB3BC901C}"/>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BBE6C41-FC99-7879-E0DD-A626A2A1A179}"/>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D4EB0619-1FC7-4056-6D9B-34F7471ABDB1}"/>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CCA232BE-5643-6608-21BC-F43EB4E00D0C}"/>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spTree>
    <p:extLst>
      <p:ext uri="{BB962C8B-B14F-4D97-AF65-F5344CB8AC3E}">
        <p14:creationId xmlns:p14="http://schemas.microsoft.com/office/powerpoint/2010/main" val="3834481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2_Section Header - Dark">
    <p:bg>
      <p:bgRef idx="1001">
        <a:schemeClr val="bg2"/>
      </p:bgRef>
    </p:bg>
    <p:spTree>
      <p:nvGrpSpPr>
        <p:cNvPr id="1" name=""/>
        <p:cNvGrpSpPr/>
        <p:nvPr/>
      </p:nvGrpSpPr>
      <p:grpSpPr>
        <a:xfrm>
          <a:off x="0" y="0"/>
          <a:ext cx="0" cy="0"/>
          <a:chOff x="0" y="0"/>
          <a:chExt cx="0" cy="0"/>
        </a:xfrm>
      </p:grpSpPr>
      <p:pic>
        <p:nvPicPr>
          <p:cNvPr id="7" name="Picture 15">
            <a:extLst>
              <a:ext uri="{FF2B5EF4-FFF2-40B4-BE49-F238E27FC236}">
                <a16:creationId xmlns:a16="http://schemas.microsoft.com/office/drawing/2014/main" id="{E2B84423-2FB9-7B42-C5ED-74D97C054F8E}"/>
              </a:ext>
            </a:extLst>
          </p:cNvPr>
          <p:cNvPicPr>
            <a:picLocks noChangeAspect="1"/>
          </p:cNvPicPr>
          <p:nvPr userDrawn="1"/>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973A5F19-847C-653E-C685-D0EC24D1F3C8}"/>
              </a:ext>
            </a:extLst>
          </p:cNvPr>
          <p:cNvSpPr>
            <a:spLocks noGrp="1"/>
          </p:cNvSpPr>
          <p:nvPr>
            <p:ph type="title"/>
          </p:nvPr>
        </p:nvSpPr>
        <p:spPr>
          <a:xfrm>
            <a:off x="540000" y="1709738"/>
            <a:ext cx="5475789" cy="3024000"/>
          </a:xfrm>
        </p:spPr>
        <p:txBody>
          <a:bodyPr anchor="b"/>
          <a:lstStyle>
            <a:lvl1pPr>
              <a:lnSpc>
                <a:spcPct val="100000"/>
              </a:lnSpc>
              <a:defRPr sz="4800">
                <a:solidFill>
                  <a:schemeClr val="tx1"/>
                </a:solidFill>
                <a:latin typeface="+mn-lt"/>
              </a:defRPr>
            </a:lvl1pPr>
          </a:lstStyle>
          <a:p>
            <a:r>
              <a:rPr lang="en-US" dirty="0"/>
              <a:t>Click to edit Master title style</a:t>
            </a:r>
            <a:endParaRPr lang="nl-NL" dirty="0"/>
          </a:p>
        </p:txBody>
      </p:sp>
      <p:sp>
        <p:nvSpPr>
          <p:cNvPr id="16" name="TextBox 15">
            <a:extLst>
              <a:ext uri="{FF2B5EF4-FFF2-40B4-BE49-F238E27FC236}">
                <a16:creationId xmlns:a16="http://schemas.microsoft.com/office/drawing/2014/main" id="{70F96CF0-1106-6329-D87A-E13B23A6C90F}"/>
              </a:ext>
            </a:extLst>
          </p:cNvPr>
          <p:cNvSpPr txBox="1"/>
          <p:nvPr/>
        </p:nvSpPr>
        <p:spPr>
          <a:xfrm>
            <a:off x="900000" y="6408000"/>
            <a:ext cx="271188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tx1"/>
                </a:solidFill>
                <a:effectLst/>
                <a:uLnTx/>
                <a:uFillTx/>
                <a:latin typeface="Aptos Regular"/>
                <a:ea typeface="+mn-ea"/>
                <a:cs typeface="+mn-cs"/>
              </a:rPr>
              <a:t>SES Space &amp; Defense Proprietary and Confidential</a:t>
            </a:r>
            <a:endParaRPr lang="en-GB" sz="800" dirty="0">
              <a:solidFill>
                <a:schemeClr val="tx1"/>
              </a:solidFill>
            </a:endParaRPr>
          </a:p>
        </p:txBody>
      </p:sp>
      <p:sp>
        <p:nvSpPr>
          <p:cNvPr id="20" name="Footer Placeholder 19">
            <a:extLst>
              <a:ext uri="{FF2B5EF4-FFF2-40B4-BE49-F238E27FC236}">
                <a16:creationId xmlns:a16="http://schemas.microsoft.com/office/drawing/2014/main" id="{37582FF6-47DA-3EDB-FB41-1760598B9BBD}"/>
              </a:ext>
            </a:extLst>
          </p:cNvPr>
          <p:cNvSpPr>
            <a:spLocks noGrp="1"/>
          </p:cNvSpPr>
          <p:nvPr>
            <p:ph type="ftr" sz="quarter" idx="11"/>
          </p:nvPr>
        </p:nvSpPr>
        <p:spPr/>
        <p:txBody>
          <a:bodyPr/>
          <a:lstStyle/>
          <a:p>
            <a:endParaRPr lang="en-US"/>
          </a:p>
        </p:txBody>
      </p:sp>
      <p:sp>
        <p:nvSpPr>
          <p:cNvPr id="21" name="Slide Number Placeholder 20">
            <a:extLst>
              <a:ext uri="{FF2B5EF4-FFF2-40B4-BE49-F238E27FC236}">
                <a16:creationId xmlns:a16="http://schemas.microsoft.com/office/drawing/2014/main" id="{731F32EB-955F-47AE-7729-21D8E94BBCF2}"/>
              </a:ext>
            </a:extLst>
          </p:cNvPr>
          <p:cNvSpPr>
            <a:spLocks noGrp="1"/>
          </p:cNvSpPr>
          <p:nvPr>
            <p:ph type="sldNum" sz="quarter" idx="12"/>
          </p:nvPr>
        </p:nvSpPr>
        <p:spPr/>
        <p:txBody>
          <a:bodyPr/>
          <a:lstStyle/>
          <a:p>
            <a:fld id="{CAD289FC-94DA-414F-BF09-0C2EF808B77F}" type="slidenum">
              <a:rPr lang="en-US" smtClean="0"/>
              <a:t>‹#›</a:t>
            </a:fld>
            <a:endParaRPr lang="en-US"/>
          </a:p>
        </p:txBody>
      </p:sp>
      <p:sp>
        <p:nvSpPr>
          <p:cNvPr id="4" name="TextBox 3">
            <a:extLst>
              <a:ext uri="{FF2B5EF4-FFF2-40B4-BE49-F238E27FC236}">
                <a16:creationId xmlns:a16="http://schemas.microsoft.com/office/drawing/2014/main" id="{B3E7AA6E-AFCF-F274-1B4F-4AB013532A67}"/>
              </a:ext>
            </a:extLst>
          </p:cNvPr>
          <p:cNvSpPr txBox="1"/>
          <p:nvPr/>
        </p:nvSpPr>
        <p:spPr>
          <a:xfrm>
            <a:off x="545524" y="-338593"/>
            <a:ext cx="1235916" cy="184666"/>
          </a:xfrm>
          <a:prstGeom prst="rect">
            <a:avLst/>
          </a:prstGeom>
          <a:noFill/>
        </p:spPr>
        <p:txBody>
          <a:bodyPr wrap="none" lIns="0" tIns="0" rIns="0" bIns="0" rtlCol="0">
            <a:spAutoFit/>
          </a:bodyPr>
          <a:lstStyle/>
          <a:p>
            <a:r>
              <a:rPr lang="en-GB" sz="1200" b="1" dirty="0">
                <a:solidFill>
                  <a:schemeClr val="accent1"/>
                </a:solidFill>
              </a:rPr>
              <a:t>Section slide</a:t>
            </a:r>
            <a:r>
              <a:rPr lang="en-GB" sz="1200" dirty="0">
                <a:solidFill>
                  <a:schemeClr val="accent1"/>
                </a:solidFill>
              </a:rPr>
              <a:t> dark</a:t>
            </a:r>
          </a:p>
        </p:txBody>
      </p:sp>
      <p:cxnSp>
        <p:nvCxnSpPr>
          <p:cNvPr id="5" name="Straight Connector 4">
            <a:extLst>
              <a:ext uri="{FF2B5EF4-FFF2-40B4-BE49-F238E27FC236}">
                <a16:creationId xmlns:a16="http://schemas.microsoft.com/office/drawing/2014/main" id="{9DFC78BC-2273-A563-891C-B7113EBFBF30}"/>
              </a:ext>
            </a:extLst>
          </p:cNvPr>
          <p:cNvCxnSpPr>
            <a:cxnSpLocks/>
          </p:cNvCxnSpPr>
          <p:nvPr/>
        </p:nvCxnSpPr>
        <p:spPr>
          <a:xfrm flipH="1">
            <a:off x="-828000" y="17028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9A38FB2-3990-4085-9F34-70F9029174D2}"/>
              </a:ext>
            </a:extLst>
          </p:cNvPr>
          <p:cNvCxnSpPr>
            <a:cxnSpLocks/>
          </p:cNvCxnSpPr>
          <p:nvPr/>
        </p:nvCxnSpPr>
        <p:spPr>
          <a:xfrm flipH="1">
            <a:off x="-828000" y="62316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67" name="Graphic 7">
            <a:extLst>
              <a:ext uri="{FF2B5EF4-FFF2-40B4-BE49-F238E27FC236}">
                <a16:creationId xmlns:a16="http://schemas.microsoft.com/office/drawing/2014/main" id="{2C553A17-9AF4-8B6C-C8B0-5C04808941E6}"/>
              </a:ext>
            </a:extLst>
          </p:cNvPr>
          <p:cNvGrpSpPr/>
          <p:nvPr/>
        </p:nvGrpSpPr>
        <p:grpSpPr>
          <a:xfrm>
            <a:off x="536806" y="354697"/>
            <a:ext cx="1484313" cy="313023"/>
            <a:chOff x="2534931" y="608064"/>
            <a:chExt cx="1484313" cy="313023"/>
          </a:xfrm>
          <a:solidFill>
            <a:schemeClr val="tx1"/>
          </a:solidFill>
        </p:grpSpPr>
        <p:sp>
          <p:nvSpPr>
            <p:cNvPr id="68" name="Freeform: Shape 67">
              <a:extLst>
                <a:ext uri="{FF2B5EF4-FFF2-40B4-BE49-F238E27FC236}">
                  <a16:creationId xmlns:a16="http://schemas.microsoft.com/office/drawing/2014/main" id="{303464F6-6F27-4764-CF0A-09D306900E50}"/>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8BD69136-D5F5-2C58-F94D-79F6F9080D15}"/>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5610B562-57E6-837D-83B8-3B415664D746}"/>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C593EEE-A806-472C-6E3A-1440B249CDD3}"/>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969E47BD-10A8-0413-0527-DD8380D042DB}"/>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F464E51D-0675-6248-0324-E23859EBE70C}"/>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9D5CE64-5F21-8244-B910-85B2BABCD85A}"/>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8192AD8-87DB-2D15-E16B-336125F6EBC2}"/>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9144E719-4452-08A8-7CBE-D3A7BA233BE5}"/>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A09EBC2B-9718-7979-BF29-094EFBD20234}"/>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0AB30DA-F2B9-976C-B1EC-A33EC9EF059E}"/>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27C517C-FF34-3FE1-207C-AA43063E93AF}"/>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8BD71EC1-2974-56EF-99D5-19D999B95B72}"/>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BDC37C73-CD5D-AE6A-6FB3-E001235697AB}"/>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093899CE-666F-66EE-5CEC-182FADC84F51}"/>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F761B66-76B3-77DD-EA1A-181F781D68FD}"/>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8AF4950-76F5-C2A8-D59B-C82BD39E7DAC}"/>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71170078-5016-CA14-4FC8-5A4FB3BC901C}"/>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BBE6C41-FC99-7879-E0DD-A626A2A1A179}"/>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D4EB0619-1FC7-4056-6D9B-34F7471ABDB1}"/>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CCA232BE-5643-6608-21BC-F43EB4E00D0C}"/>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spTree>
    <p:extLst>
      <p:ext uri="{BB962C8B-B14F-4D97-AF65-F5344CB8AC3E}">
        <p14:creationId xmlns:p14="http://schemas.microsoft.com/office/powerpoint/2010/main" val="288179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86E6A5E1-5311-0F3A-12CF-8633AA629632}"/>
              </a:ext>
            </a:extLst>
          </p:cNvPr>
          <p:cNvSpPr>
            <a:spLocks noGrp="1"/>
          </p:cNvSpPr>
          <p:nvPr>
            <p:ph sz="half" idx="1"/>
          </p:nvPr>
        </p:nvSpPr>
        <p:spPr>
          <a:xfrm>
            <a:off x="540000" y="1700212"/>
            <a:ext cx="5394076" cy="4537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Content Placeholder 3">
            <a:extLst>
              <a:ext uri="{FF2B5EF4-FFF2-40B4-BE49-F238E27FC236}">
                <a16:creationId xmlns:a16="http://schemas.microsoft.com/office/drawing/2014/main" id="{2CD52B7C-0402-A109-A696-DCB13384AB2F}"/>
              </a:ext>
            </a:extLst>
          </p:cNvPr>
          <p:cNvSpPr>
            <a:spLocks noGrp="1"/>
          </p:cNvSpPr>
          <p:nvPr>
            <p:ph sz="half" idx="2"/>
          </p:nvPr>
        </p:nvSpPr>
        <p:spPr>
          <a:xfrm>
            <a:off x="6257925" y="1700212"/>
            <a:ext cx="5391149" cy="4537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Date Placeholder 4">
            <a:extLst>
              <a:ext uri="{FF2B5EF4-FFF2-40B4-BE49-F238E27FC236}">
                <a16:creationId xmlns:a16="http://schemas.microsoft.com/office/drawing/2014/main" id="{4222D9B2-C5CF-9DCD-6725-684810963492}"/>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6" name="Footer Placeholder 5">
            <a:extLst>
              <a:ext uri="{FF2B5EF4-FFF2-40B4-BE49-F238E27FC236}">
                <a16:creationId xmlns:a16="http://schemas.microsoft.com/office/drawing/2014/main" id="{43DF58DA-5592-ABC3-1DF8-24B6D7EFE285}"/>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2EE77887-8959-8FE3-54A6-C61937632BB7}"/>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8" name="TextBox 7">
            <a:extLst>
              <a:ext uri="{FF2B5EF4-FFF2-40B4-BE49-F238E27FC236}">
                <a16:creationId xmlns:a16="http://schemas.microsoft.com/office/drawing/2014/main" id="{68C41429-E698-1F7B-18A4-3283C7DBEB99}"/>
              </a:ext>
            </a:extLst>
          </p:cNvPr>
          <p:cNvSpPr txBox="1"/>
          <p:nvPr/>
        </p:nvSpPr>
        <p:spPr>
          <a:xfrm>
            <a:off x="545524" y="-338593"/>
            <a:ext cx="1834798"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wo columns</a:t>
            </a:r>
          </a:p>
        </p:txBody>
      </p:sp>
      <p:cxnSp>
        <p:nvCxnSpPr>
          <p:cNvPr id="15" name="Straight Connector 14">
            <a:extLst>
              <a:ext uri="{FF2B5EF4-FFF2-40B4-BE49-F238E27FC236}">
                <a16:creationId xmlns:a16="http://schemas.microsoft.com/office/drawing/2014/main" id="{2D269D15-E14F-DCF4-AA27-39CBE89FB1C3}"/>
              </a:ext>
            </a:extLst>
          </p:cNvPr>
          <p:cNvCxnSpPr>
            <a:cxnSpLocks/>
          </p:cNvCxnSpPr>
          <p:nvPr/>
        </p:nvCxnSpPr>
        <p:spPr>
          <a:xfrm flipV="1">
            <a:off x="593887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D3602D-FD8A-711D-8C71-9B9171B0C9F3}"/>
              </a:ext>
            </a:extLst>
          </p:cNvPr>
          <p:cNvCxnSpPr>
            <a:cxnSpLocks/>
          </p:cNvCxnSpPr>
          <p:nvPr/>
        </p:nvCxnSpPr>
        <p:spPr>
          <a:xfrm flipV="1">
            <a:off x="6264001"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46B10BD-B77F-43CC-722D-815D8D6C6E8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514449F-FEFD-4368-F435-0B56A68569F8}"/>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15">
            <a:extLst>
              <a:ext uri="{FF2B5EF4-FFF2-40B4-BE49-F238E27FC236}">
                <a16:creationId xmlns:a16="http://schemas.microsoft.com/office/drawing/2014/main" id="{0B47F781-3755-3318-EC60-67E2526DBDFA}"/>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245904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1C6FAF9-5ACF-DD34-F72E-D126E6963489}"/>
              </a:ext>
            </a:extLst>
          </p:cNvPr>
          <p:cNvSpPr/>
          <p:nvPr userDrawn="1"/>
        </p:nvSpPr>
        <p:spPr>
          <a:xfrm>
            <a:off x="-2926" y="0"/>
            <a:ext cx="1219492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aphic 7">
            <a:extLst>
              <a:ext uri="{FF2B5EF4-FFF2-40B4-BE49-F238E27FC236}">
                <a16:creationId xmlns:a16="http://schemas.microsoft.com/office/drawing/2014/main" id="{40B6FD89-09CC-D10B-91EE-69F372033AB6}"/>
              </a:ext>
            </a:extLst>
          </p:cNvPr>
          <p:cNvGrpSpPr/>
          <p:nvPr userDrawn="1"/>
        </p:nvGrpSpPr>
        <p:grpSpPr>
          <a:xfrm>
            <a:off x="10312009" y="358805"/>
            <a:ext cx="1484313" cy="313023"/>
            <a:chOff x="2534931" y="608064"/>
            <a:chExt cx="1484313" cy="313023"/>
          </a:xfrm>
          <a:solidFill>
            <a:schemeClr val="bg1"/>
          </a:solidFill>
        </p:grpSpPr>
        <p:sp>
          <p:nvSpPr>
            <p:cNvPr id="11" name="Freeform: Shape 10">
              <a:extLst>
                <a:ext uri="{FF2B5EF4-FFF2-40B4-BE49-F238E27FC236}">
                  <a16:creationId xmlns:a16="http://schemas.microsoft.com/office/drawing/2014/main" id="{215C1A05-35F0-3139-AB89-B3B8F2018FB9}"/>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ACAB2E9-EAEE-3C0F-B169-A95C387FCE28}"/>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6F6298B7-B4D0-C932-F7BF-A0EB84DE062F}"/>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69EFA3F0-4D95-6043-89A3-718E0436170F}"/>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DCA43C0-AA56-4B88-803A-0938E4BFD6D8}"/>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32582A9F-D86D-AEA9-D4C4-B6D2BCBC1C02}"/>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CA7015E-AA3A-A64A-CE23-5C8D933155FF}"/>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6558C55-4AAF-7637-DD1C-51543DFE87D1}"/>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C4211FDE-52C7-FB32-D349-A165E4AA3506}"/>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B418C76-5020-A019-2BF2-8299402EF32D}"/>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94494A5-15BF-B151-F9BA-DFE861EDC449}"/>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1EBF66B-7038-BF4D-1AD6-5E1126B4FCEC}"/>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455F32A2-C26F-7BB5-464E-41CA30A034AF}"/>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3295F4-9613-1ACB-C1E5-FB2D1425AA16}"/>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DD4C3EDD-6F24-BA18-82C1-164592D2B51B}"/>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4799B38-424A-4A84-0F42-51739C02F173}"/>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30FE0B84-9118-628A-67DB-395BD7454972}"/>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FBE10310-D0B2-24A3-1093-67FBEBDAA514}"/>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1A6A42F1-FA7D-4FC1-AB82-D16A587907FB}"/>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8E622E4B-CFDB-2CD3-AA38-FAD31B65EB13}"/>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C9CA9E4-762C-6A91-65FB-949A060348D5}"/>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nl-NL" dirty="0"/>
          </a:p>
        </p:txBody>
      </p:sp>
      <p:sp>
        <p:nvSpPr>
          <p:cNvPr id="3" name="Content Placeholder 2">
            <a:extLst>
              <a:ext uri="{FF2B5EF4-FFF2-40B4-BE49-F238E27FC236}">
                <a16:creationId xmlns:a16="http://schemas.microsoft.com/office/drawing/2014/main" id="{86E6A5E1-5311-0F3A-12CF-8633AA629632}"/>
              </a:ext>
            </a:extLst>
          </p:cNvPr>
          <p:cNvSpPr>
            <a:spLocks noGrp="1"/>
          </p:cNvSpPr>
          <p:nvPr>
            <p:ph sz="half" idx="1"/>
          </p:nvPr>
        </p:nvSpPr>
        <p:spPr>
          <a:xfrm>
            <a:off x="540000" y="1700212"/>
            <a:ext cx="5394076" cy="4537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4" name="Content Placeholder 3">
            <a:extLst>
              <a:ext uri="{FF2B5EF4-FFF2-40B4-BE49-F238E27FC236}">
                <a16:creationId xmlns:a16="http://schemas.microsoft.com/office/drawing/2014/main" id="{2CD52B7C-0402-A109-A696-DCB13384AB2F}"/>
              </a:ext>
            </a:extLst>
          </p:cNvPr>
          <p:cNvSpPr>
            <a:spLocks noGrp="1"/>
          </p:cNvSpPr>
          <p:nvPr>
            <p:ph sz="half" idx="2"/>
          </p:nvPr>
        </p:nvSpPr>
        <p:spPr>
          <a:xfrm>
            <a:off x="6257925" y="1700212"/>
            <a:ext cx="5391149" cy="4537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Date Placeholder 4">
            <a:extLst>
              <a:ext uri="{FF2B5EF4-FFF2-40B4-BE49-F238E27FC236}">
                <a16:creationId xmlns:a16="http://schemas.microsoft.com/office/drawing/2014/main" id="{4222D9B2-C5CF-9DCD-6725-684810963492}"/>
              </a:ext>
            </a:extLst>
          </p:cNvPr>
          <p:cNvSpPr>
            <a:spLocks noGrp="1"/>
          </p:cNvSpPr>
          <p:nvPr>
            <p:ph type="dt" sz="half" idx="14"/>
          </p:nvPr>
        </p:nvSpPr>
        <p:spPr/>
        <p:txBody>
          <a:bodyPr/>
          <a:lstStyle>
            <a:lvl1pPr>
              <a:defRPr>
                <a:solidFill>
                  <a:schemeClr val="bg1"/>
                </a:solidFill>
              </a:defRPr>
            </a:lvl1pPr>
          </a:lstStyle>
          <a:p>
            <a:fld id="{BEB22B47-D53E-4036-966D-BBC0284ADB56}" type="datetimeFigureOut">
              <a:rPr lang="en-US" smtClean="0"/>
              <a:pPr/>
              <a:t>3/13/26</a:t>
            </a:fld>
            <a:endParaRPr lang="en-US"/>
          </a:p>
        </p:txBody>
      </p:sp>
      <p:sp>
        <p:nvSpPr>
          <p:cNvPr id="6" name="Footer Placeholder 5">
            <a:extLst>
              <a:ext uri="{FF2B5EF4-FFF2-40B4-BE49-F238E27FC236}">
                <a16:creationId xmlns:a16="http://schemas.microsoft.com/office/drawing/2014/main" id="{43DF58DA-5592-ABC3-1DF8-24B6D7EFE285}"/>
              </a:ext>
            </a:extLst>
          </p:cNvPr>
          <p:cNvSpPr>
            <a:spLocks noGrp="1"/>
          </p:cNvSpPr>
          <p:nvPr>
            <p:ph type="ftr" sz="quarter" idx="15"/>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EE77887-8959-8FE3-54A6-C61937632BB7}"/>
              </a:ext>
            </a:extLst>
          </p:cNvPr>
          <p:cNvSpPr>
            <a:spLocks noGrp="1"/>
          </p:cNvSpPr>
          <p:nvPr>
            <p:ph type="sldNum" sz="quarter" idx="16"/>
          </p:nvPr>
        </p:nvSpPr>
        <p:spPr/>
        <p:txBody>
          <a:bodyPr/>
          <a:lstStyle>
            <a:lvl1pPr>
              <a:defRPr>
                <a:solidFill>
                  <a:schemeClr val="bg1"/>
                </a:solidFill>
              </a:defRPr>
            </a:lvl1pPr>
          </a:lstStyle>
          <a:p>
            <a:fld id="{CAD289FC-94DA-414F-BF09-0C2EF808B77F}" type="slidenum">
              <a:rPr lang="en-US" smtClean="0"/>
              <a:pPr/>
              <a:t>‹#›</a:t>
            </a:fld>
            <a:endParaRPr lang="en-US"/>
          </a:p>
        </p:txBody>
      </p:sp>
      <p:sp>
        <p:nvSpPr>
          <p:cNvPr id="8" name="TextBox 7">
            <a:extLst>
              <a:ext uri="{FF2B5EF4-FFF2-40B4-BE49-F238E27FC236}">
                <a16:creationId xmlns:a16="http://schemas.microsoft.com/office/drawing/2014/main" id="{68C41429-E698-1F7B-18A4-3283C7DBEB99}"/>
              </a:ext>
            </a:extLst>
          </p:cNvPr>
          <p:cNvSpPr txBox="1"/>
          <p:nvPr/>
        </p:nvSpPr>
        <p:spPr>
          <a:xfrm>
            <a:off x="545524" y="-338593"/>
            <a:ext cx="1834798"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wo columns</a:t>
            </a:r>
          </a:p>
        </p:txBody>
      </p:sp>
      <p:cxnSp>
        <p:nvCxnSpPr>
          <p:cNvPr id="15" name="Straight Connector 14">
            <a:extLst>
              <a:ext uri="{FF2B5EF4-FFF2-40B4-BE49-F238E27FC236}">
                <a16:creationId xmlns:a16="http://schemas.microsoft.com/office/drawing/2014/main" id="{2D269D15-E14F-DCF4-AA27-39CBE89FB1C3}"/>
              </a:ext>
            </a:extLst>
          </p:cNvPr>
          <p:cNvCxnSpPr>
            <a:cxnSpLocks/>
          </p:cNvCxnSpPr>
          <p:nvPr/>
        </p:nvCxnSpPr>
        <p:spPr>
          <a:xfrm flipV="1">
            <a:off x="593887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D3602D-FD8A-711D-8C71-9B9171B0C9F3}"/>
              </a:ext>
            </a:extLst>
          </p:cNvPr>
          <p:cNvCxnSpPr>
            <a:cxnSpLocks/>
          </p:cNvCxnSpPr>
          <p:nvPr/>
        </p:nvCxnSpPr>
        <p:spPr>
          <a:xfrm flipV="1">
            <a:off x="6264001"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46B10BD-B77F-43CC-722D-815D8D6C6E8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514449F-FEFD-4368-F435-0B56A68569F8}"/>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0A654CB0-240A-6013-2DA9-98E91759426E}"/>
              </a:ext>
            </a:extLst>
          </p:cNvPr>
          <p:cNvSpPr txBox="1"/>
          <p:nvPr userDrawn="1"/>
        </p:nvSpPr>
        <p:spPr>
          <a:xfrm>
            <a:off x="900000" y="6408000"/>
            <a:ext cx="271188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bg1"/>
                </a:solidFill>
                <a:effectLst/>
                <a:uLnTx/>
                <a:uFillTx/>
                <a:latin typeface="Aptos Regular"/>
                <a:ea typeface="+mn-ea"/>
                <a:cs typeface="+mn-cs"/>
              </a:rPr>
              <a:t>SES Space &amp; Defense Proprietary and Confidential</a:t>
            </a:r>
            <a:endParaRPr lang="en-GB" sz="800" dirty="0">
              <a:solidFill>
                <a:schemeClr val="bg1"/>
              </a:solidFill>
            </a:endParaRPr>
          </a:p>
        </p:txBody>
      </p:sp>
      <p:sp>
        <p:nvSpPr>
          <p:cNvPr id="38" name="Text Placeholder 15">
            <a:extLst>
              <a:ext uri="{FF2B5EF4-FFF2-40B4-BE49-F238E27FC236}">
                <a16:creationId xmlns:a16="http://schemas.microsoft.com/office/drawing/2014/main" id="{AD37E5AE-973F-F791-8449-1F9F2D701F33}"/>
              </a:ext>
            </a:extLst>
          </p:cNvPr>
          <p:cNvSpPr>
            <a:spLocks noGrp="1"/>
          </p:cNvSpPr>
          <p:nvPr>
            <p:ph type="body" sz="quarter" idx="13" hasCustomPrompt="1"/>
          </p:nvPr>
        </p:nvSpPr>
        <p:spPr>
          <a:xfrm>
            <a:off x="541338" y="1009185"/>
            <a:ext cx="11107738" cy="256054"/>
          </a:xfrm>
        </p:spPr>
        <p:txBody>
          <a:bodyPr/>
          <a:lstStyle>
            <a:lvl1pPr>
              <a:lnSpc>
                <a:spcPct val="90000"/>
              </a:lnSpc>
              <a:defRPr sz="2400" b="0">
                <a:solidFill>
                  <a:schemeClr val="accent4"/>
                </a:solidFill>
                <a:latin typeface="+mj-lt"/>
              </a:defRPr>
            </a:lvl1pPr>
          </a:lstStyle>
          <a:p>
            <a:pPr lvl="0"/>
            <a:r>
              <a:rPr lang="en-GB" dirty="0"/>
              <a:t>Click to add subtitle</a:t>
            </a:r>
          </a:p>
        </p:txBody>
      </p:sp>
    </p:spTree>
    <p:extLst>
      <p:ext uri="{BB962C8B-B14F-4D97-AF65-F5344CB8AC3E}">
        <p14:creationId xmlns:p14="http://schemas.microsoft.com/office/powerpoint/2010/main" val="310388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ntent - Charts">
    <p:spTree>
      <p:nvGrpSpPr>
        <p:cNvPr id="1" name=""/>
        <p:cNvGrpSpPr/>
        <p:nvPr/>
      </p:nvGrpSpPr>
      <p:grpSpPr>
        <a:xfrm>
          <a:off x="0" y="0"/>
          <a:ext cx="0" cy="0"/>
          <a:chOff x="0" y="0"/>
          <a:chExt cx="0" cy="0"/>
        </a:xfrm>
      </p:grpSpPr>
      <p:sp>
        <p:nvSpPr>
          <p:cNvPr id="22" name="Text Placeholder 23">
            <a:extLst>
              <a:ext uri="{FF2B5EF4-FFF2-40B4-BE49-F238E27FC236}">
                <a16:creationId xmlns:a16="http://schemas.microsoft.com/office/drawing/2014/main" id="{A038A0EA-B56A-2C96-09F7-1CB58D625675}"/>
              </a:ext>
            </a:extLst>
          </p:cNvPr>
          <p:cNvSpPr>
            <a:spLocks noGrp="1"/>
          </p:cNvSpPr>
          <p:nvPr>
            <p:ph type="body" sz="quarter" idx="27" hasCustomPrompt="1"/>
          </p:nvPr>
        </p:nvSpPr>
        <p:spPr>
          <a:xfrm>
            <a:off x="539788" y="1700212"/>
            <a:ext cx="5399088" cy="4537075"/>
          </a:xfrm>
          <a:prstGeom prst="roundRect">
            <a:avLst>
              <a:gd name="adj" fmla="val 5147"/>
            </a:avLst>
          </a:prstGeom>
          <a:solidFill>
            <a:srgbClr val="F2F4F8"/>
          </a:solidFill>
        </p:spPr>
        <p:txBody>
          <a:bodyPr lIns="144000" tIns="72000" rIns="144000" bIns="108000"/>
          <a:lstStyle>
            <a:lvl1pPr>
              <a:defRPr sz="2000">
                <a:solidFill>
                  <a:schemeClr val="tx1"/>
                </a:solidFill>
              </a:defRPr>
            </a:lvl1pPr>
            <a:lvl2pPr>
              <a:lnSpc>
                <a:spcPct val="90000"/>
              </a:lnSpc>
              <a:spcBef>
                <a:spcPts val="0"/>
              </a:spcBef>
              <a:defRPr sz="1800">
                <a:solidFill>
                  <a:schemeClr val="accent3"/>
                </a:solidFill>
                <a:latin typeface="+mj-lt"/>
              </a:defRPr>
            </a:lvl2pPr>
            <a:lvl3pPr marL="0" indent="0">
              <a:buNone/>
              <a:defRPr sz="1400"/>
            </a:lvl3pPr>
          </a:lstStyle>
          <a:p>
            <a:pPr lvl="0"/>
            <a:r>
              <a:rPr lang="en-GB" dirty="0"/>
              <a:t>Chart title</a:t>
            </a:r>
          </a:p>
          <a:p>
            <a:pPr lvl="1"/>
            <a:r>
              <a:rPr lang="en-GB" dirty="0"/>
              <a:t>Chart subtitle</a:t>
            </a:r>
          </a:p>
        </p:txBody>
      </p:sp>
      <p:sp>
        <p:nvSpPr>
          <p:cNvPr id="23" name="Text Placeholder 23">
            <a:extLst>
              <a:ext uri="{FF2B5EF4-FFF2-40B4-BE49-F238E27FC236}">
                <a16:creationId xmlns:a16="http://schemas.microsoft.com/office/drawing/2014/main" id="{081B0434-D604-9CF3-E9B8-B391F129F868}"/>
              </a:ext>
            </a:extLst>
          </p:cNvPr>
          <p:cNvSpPr>
            <a:spLocks noGrp="1"/>
          </p:cNvSpPr>
          <p:nvPr>
            <p:ph type="body" sz="quarter" idx="28" hasCustomPrompt="1"/>
          </p:nvPr>
        </p:nvSpPr>
        <p:spPr>
          <a:xfrm>
            <a:off x="6256533" y="1700212"/>
            <a:ext cx="5399088" cy="4537075"/>
          </a:xfrm>
          <a:prstGeom prst="roundRect">
            <a:avLst>
              <a:gd name="adj" fmla="val 5006"/>
            </a:avLst>
          </a:prstGeom>
          <a:solidFill>
            <a:srgbClr val="F2F4F8"/>
          </a:solidFill>
        </p:spPr>
        <p:txBody>
          <a:bodyPr lIns="144000" tIns="72000" rIns="144000" bIns="108000"/>
          <a:lstStyle>
            <a:lvl1pPr>
              <a:defRPr sz="2000">
                <a:solidFill>
                  <a:schemeClr val="tx1"/>
                </a:solidFill>
              </a:defRPr>
            </a:lvl1pPr>
            <a:lvl2pPr>
              <a:lnSpc>
                <a:spcPct val="90000"/>
              </a:lnSpc>
              <a:spcBef>
                <a:spcPts val="0"/>
              </a:spcBef>
              <a:defRPr sz="1800">
                <a:solidFill>
                  <a:schemeClr val="accent3"/>
                </a:solidFill>
                <a:latin typeface="+mj-lt"/>
              </a:defRPr>
            </a:lvl2pPr>
            <a:lvl3pPr marL="0" indent="0">
              <a:buNone/>
              <a:defRPr sz="1400"/>
            </a:lvl3pPr>
          </a:lstStyle>
          <a:p>
            <a:pPr lvl="0"/>
            <a:r>
              <a:rPr lang="en-GB" dirty="0"/>
              <a:t>Chart title</a:t>
            </a:r>
          </a:p>
          <a:p>
            <a:pPr lvl="1"/>
            <a:r>
              <a:rPr lang="en-GB" dirty="0"/>
              <a:t>Chart subtitle</a:t>
            </a:r>
          </a:p>
        </p:txBody>
      </p:sp>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8" name="TextBox 7">
            <a:extLst>
              <a:ext uri="{FF2B5EF4-FFF2-40B4-BE49-F238E27FC236}">
                <a16:creationId xmlns:a16="http://schemas.microsoft.com/office/drawing/2014/main" id="{68C41429-E698-1F7B-18A4-3283C7DBEB99}"/>
              </a:ext>
            </a:extLst>
          </p:cNvPr>
          <p:cNvSpPr txBox="1"/>
          <p:nvPr/>
        </p:nvSpPr>
        <p:spPr>
          <a:xfrm>
            <a:off x="545524" y="-338593"/>
            <a:ext cx="1673920"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wo charts</a:t>
            </a:r>
          </a:p>
        </p:txBody>
      </p:sp>
      <p:cxnSp>
        <p:nvCxnSpPr>
          <p:cNvPr id="15" name="Straight Connector 14">
            <a:extLst>
              <a:ext uri="{FF2B5EF4-FFF2-40B4-BE49-F238E27FC236}">
                <a16:creationId xmlns:a16="http://schemas.microsoft.com/office/drawing/2014/main" id="{2D269D15-E14F-DCF4-AA27-39CBE89FB1C3}"/>
              </a:ext>
            </a:extLst>
          </p:cNvPr>
          <p:cNvCxnSpPr>
            <a:cxnSpLocks/>
          </p:cNvCxnSpPr>
          <p:nvPr/>
        </p:nvCxnSpPr>
        <p:spPr>
          <a:xfrm flipV="1">
            <a:off x="593887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D3602D-FD8A-711D-8C71-9B9171B0C9F3}"/>
              </a:ext>
            </a:extLst>
          </p:cNvPr>
          <p:cNvCxnSpPr>
            <a:cxnSpLocks/>
          </p:cNvCxnSpPr>
          <p:nvPr/>
        </p:nvCxnSpPr>
        <p:spPr>
          <a:xfrm flipV="1">
            <a:off x="6264001"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46B10BD-B77F-43CC-722D-815D8D6C6E8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514449F-FEFD-4368-F435-0B56A68569F8}"/>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10" name="Chart Placeholder 9">
            <a:extLst>
              <a:ext uri="{FF2B5EF4-FFF2-40B4-BE49-F238E27FC236}">
                <a16:creationId xmlns:a16="http://schemas.microsoft.com/office/drawing/2014/main" id="{C8145014-AB37-9AA4-E1B1-ABA3809C4B01}"/>
              </a:ext>
            </a:extLst>
          </p:cNvPr>
          <p:cNvSpPr>
            <a:spLocks noGrp="1"/>
          </p:cNvSpPr>
          <p:nvPr>
            <p:ph type="chart" sz="quarter" idx="17"/>
          </p:nvPr>
        </p:nvSpPr>
        <p:spPr>
          <a:xfrm>
            <a:off x="765489" y="2436073"/>
            <a:ext cx="4942847" cy="3565528"/>
          </a:xfrm>
          <a:prstGeom prst="rect">
            <a:avLst/>
          </a:prstGeom>
          <a:noFill/>
        </p:spPr>
        <p:txBody>
          <a:bodyPr/>
          <a:lstStyle/>
          <a:p>
            <a:r>
              <a:rPr lang="en-US"/>
              <a:t>Click icon to add chart</a:t>
            </a:r>
            <a:endParaRPr lang="en-GB" dirty="0"/>
          </a:p>
        </p:txBody>
      </p:sp>
      <p:sp>
        <p:nvSpPr>
          <p:cNvPr id="11" name="Chart Placeholder 9">
            <a:extLst>
              <a:ext uri="{FF2B5EF4-FFF2-40B4-BE49-F238E27FC236}">
                <a16:creationId xmlns:a16="http://schemas.microsoft.com/office/drawing/2014/main" id="{CC6FEBC6-890F-B3A8-A078-E634DDD4AE2D}"/>
              </a:ext>
            </a:extLst>
          </p:cNvPr>
          <p:cNvSpPr>
            <a:spLocks noGrp="1"/>
          </p:cNvSpPr>
          <p:nvPr>
            <p:ph type="chart" sz="quarter" idx="18"/>
          </p:nvPr>
        </p:nvSpPr>
        <p:spPr>
          <a:xfrm>
            <a:off x="6480175" y="2436073"/>
            <a:ext cx="4946336" cy="3565528"/>
          </a:xfrm>
          <a:prstGeom prst="rect">
            <a:avLst/>
          </a:prstGeom>
          <a:noFill/>
        </p:spPr>
        <p:txBody>
          <a:bodyPr/>
          <a:lstStyle/>
          <a:p>
            <a:r>
              <a:rPr lang="en-US"/>
              <a:t>Click icon to add chart</a:t>
            </a:r>
            <a:endParaRPr lang="en-GB"/>
          </a:p>
        </p:txBody>
      </p:sp>
      <p:sp>
        <p:nvSpPr>
          <p:cNvPr id="24" name="Date Placeholder 23">
            <a:extLst>
              <a:ext uri="{FF2B5EF4-FFF2-40B4-BE49-F238E27FC236}">
                <a16:creationId xmlns:a16="http://schemas.microsoft.com/office/drawing/2014/main" id="{48E567BB-4850-145C-ABC0-F84E7D3E53FF}"/>
              </a:ext>
            </a:extLst>
          </p:cNvPr>
          <p:cNvSpPr>
            <a:spLocks noGrp="1"/>
          </p:cNvSpPr>
          <p:nvPr>
            <p:ph type="dt" sz="half" idx="29"/>
          </p:nvPr>
        </p:nvSpPr>
        <p:spPr/>
        <p:txBody>
          <a:bodyPr/>
          <a:lstStyle/>
          <a:p>
            <a:fld id="{BEB22B47-D53E-4036-966D-BBC0284ADB56}" type="datetimeFigureOut">
              <a:rPr lang="en-US" smtClean="0"/>
              <a:t>3/13/26</a:t>
            </a:fld>
            <a:endParaRPr lang="en-US"/>
          </a:p>
        </p:txBody>
      </p:sp>
      <p:sp>
        <p:nvSpPr>
          <p:cNvPr id="25" name="Footer Placeholder 24">
            <a:extLst>
              <a:ext uri="{FF2B5EF4-FFF2-40B4-BE49-F238E27FC236}">
                <a16:creationId xmlns:a16="http://schemas.microsoft.com/office/drawing/2014/main" id="{CA215D5B-8EBF-7433-EC2C-454CB4EFE092}"/>
              </a:ext>
            </a:extLst>
          </p:cNvPr>
          <p:cNvSpPr>
            <a:spLocks noGrp="1"/>
          </p:cNvSpPr>
          <p:nvPr>
            <p:ph type="ftr" sz="quarter" idx="30"/>
          </p:nvPr>
        </p:nvSpPr>
        <p:spPr/>
        <p:txBody>
          <a:bodyPr/>
          <a:lstStyle/>
          <a:p>
            <a:endParaRPr lang="en-US"/>
          </a:p>
        </p:txBody>
      </p:sp>
      <p:sp>
        <p:nvSpPr>
          <p:cNvPr id="26" name="Slide Number Placeholder 25">
            <a:extLst>
              <a:ext uri="{FF2B5EF4-FFF2-40B4-BE49-F238E27FC236}">
                <a16:creationId xmlns:a16="http://schemas.microsoft.com/office/drawing/2014/main" id="{3CAF1F6B-71E3-2BB1-CF96-35C40D6B3BB6}"/>
              </a:ext>
            </a:extLst>
          </p:cNvPr>
          <p:cNvSpPr>
            <a:spLocks noGrp="1"/>
          </p:cNvSpPr>
          <p:nvPr>
            <p:ph type="sldNum" sz="quarter" idx="31"/>
          </p:nvPr>
        </p:nvSpPr>
        <p:spPr/>
        <p:txBody>
          <a:bodyPr/>
          <a:lstStyle/>
          <a:p>
            <a:fld id="{CAD289FC-94DA-414F-BF09-0C2EF808B77F}" type="slidenum">
              <a:rPr lang="en-US" smtClean="0"/>
              <a:t>‹#›</a:t>
            </a:fld>
            <a:endParaRPr lang="en-US"/>
          </a:p>
        </p:txBody>
      </p:sp>
      <p:sp>
        <p:nvSpPr>
          <p:cNvPr id="3" name="Text Placeholder 15">
            <a:extLst>
              <a:ext uri="{FF2B5EF4-FFF2-40B4-BE49-F238E27FC236}">
                <a16:creationId xmlns:a16="http://schemas.microsoft.com/office/drawing/2014/main" id="{AF6915FE-001C-3E97-C341-C5B525852E26}"/>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287602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3">
          <p15:clr>
            <a:srgbClr val="FBAE40"/>
          </p15:clr>
        </p15:guide>
        <p15:guide id="2" pos="3594">
          <p15:clr>
            <a:srgbClr val="FBAE40"/>
          </p15:clr>
        </p15:guide>
        <p15:guide id="3" pos="4082">
          <p15:clr>
            <a:srgbClr val="FBAE40"/>
          </p15:clr>
        </p15:guide>
        <p15:guide id="4" pos="719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86E6A5E1-5311-0F3A-12CF-8633AA629632}"/>
              </a:ext>
            </a:extLst>
          </p:cNvPr>
          <p:cNvSpPr>
            <a:spLocks noGrp="1"/>
          </p:cNvSpPr>
          <p:nvPr>
            <p:ph sz="half" idx="1"/>
          </p:nvPr>
        </p:nvSpPr>
        <p:spPr>
          <a:xfrm>
            <a:off x="540000" y="2520000"/>
            <a:ext cx="3489075" cy="3717288"/>
          </a:xfrm>
        </p:spPr>
        <p:txBody>
          <a:bodyPr/>
          <a:lstStyle>
            <a:lvl1pPr>
              <a:defRPr sz="20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Content Placeholder 3">
            <a:extLst>
              <a:ext uri="{FF2B5EF4-FFF2-40B4-BE49-F238E27FC236}">
                <a16:creationId xmlns:a16="http://schemas.microsoft.com/office/drawing/2014/main" id="{2CD52B7C-0402-A109-A696-DCB13384AB2F}"/>
              </a:ext>
            </a:extLst>
          </p:cNvPr>
          <p:cNvSpPr>
            <a:spLocks noGrp="1"/>
          </p:cNvSpPr>
          <p:nvPr>
            <p:ph sz="half" idx="2"/>
          </p:nvPr>
        </p:nvSpPr>
        <p:spPr>
          <a:xfrm>
            <a:off x="8162925" y="2520000"/>
            <a:ext cx="3486149" cy="3717288"/>
          </a:xfrm>
        </p:spPr>
        <p:txBody>
          <a:bodyPr/>
          <a:lstStyle>
            <a:lvl1pPr>
              <a:defRPr sz="20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Content Placeholder 3">
            <a:extLst>
              <a:ext uri="{FF2B5EF4-FFF2-40B4-BE49-F238E27FC236}">
                <a16:creationId xmlns:a16="http://schemas.microsoft.com/office/drawing/2014/main" id="{30A83721-CE06-6232-999E-31CEAEF829B9}"/>
              </a:ext>
            </a:extLst>
          </p:cNvPr>
          <p:cNvSpPr>
            <a:spLocks noGrp="1"/>
          </p:cNvSpPr>
          <p:nvPr>
            <p:ph sz="half" idx="14"/>
          </p:nvPr>
        </p:nvSpPr>
        <p:spPr>
          <a:xfrm>
            <a:off x="4355525" y="2520000"/>
            <a:ext cx="3483550" cy="3717288"/>
          </a:xfrm>
        </p:spPr>
        <p:txBody>
          <a:bodyPr/>
          <a:lstStyle>
            <a:lvl1pPr>
              <a:defRPr sz="20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6" name="Date Placeholder 5">
            <a:extLst>
              <a:ext uri="{FF2B5EF4-FFF2-40B4-BE49-F238E27FC236}">
                <a16:creationId xmlns:a16="http://schemas.microsoft.com/office/drawing/2014/main" id="{B102750C-D2DB-BA34-E56C-21D4E0E010BC}"/>
              </a:ext>
            </a:extLst>
          </p:cNvPr>
          <p:cNvSpPr>
            <a:spLocks noGrp="1"/>
          </p:cNvSpPr>
          <p:nvPr>
            <p:ph type="dt" sz="half" idx="15"/>
          </p:nvPr>
        </p:nvSpPr>
        <p:spPr/>
        <p:txBody>
          <a:bodyPr/>
          <a:lstStyle/>
          <a:p>
            <a:fld id="{BEB22B47-D53E-4036-966D-BBC0284ADB56}" type="datetimeFigureOut">
              <a:rPr lang="en-US" smtClean="0"/>
              <a:t>3/13/26</a:t>
            </a:fld>
            <a:endParaRPr lang="en-US"/>
          </a:p>
        </p:txBody>
      </p:sp>
      <p:sp>
        <p:nvSpPr>
          <p:cNvPr id="7" name="Footer Placeholder 6">
            <a:extLst>
              <a:ext uri="{FF2B5EF4-FFF2-40B4-BE49-F238E27FC236}">
                <a16:creationId xmlns:a16="http://schemas.microsoft.com/office/drawing/2014/main" id="{487D064F-DB5D-BC1A-E228-4A8361B8BA2F}"/>
              </a:ext>
            </a:extLst>
          </p:cNvPr>
          <p:cNvSpPr>
            <a:spLocks noGrp="1"/>
          </p:cNvSpPr>
          <p:nvPr>
            <p:ph type="ftr" sz="quarter" idx="16"/>
          </p:nvPr>
        </p:nvSpPr>
        <p:spPr/>
        <p:txBody>
          <a:bodyPr/>
          <a:lstStyle/>
          <a:p>
            <a:endParaRPr lang="en-US"/>
          </a:p>
        </p:txBody>
      </p:sp>
      <p:sp>
        <p:nvSpPr>
          <p:cNvPr id="8" name="Slide Number Placeholder 7">
            <a:extLst>
              <a:ext uri="{FF2B5EF4-FFF2-40B4-BE49-F238E27FC236}">
                <a16:creationId xmlns:a16="http://schemas.microsoft.com/office/drawing/2014/main" id="{5E3915F7-2C0B-762E-2DCE-2FF02944C4EB}"/>
              </a:ext>
            </a:extLst>
          </p:cNvPr>
          <p:cNvSpPr>
            <a:spLocks noGrp="1"/>
          </p:cNvSpPr>
          <p:nvPr>
            <p:ph type="sldNum" sz="quarter" idx="17"/>
          </p:nvPr>
        </p:nvSpPr>
        <p:spPr/>
        <p:txBody>
          <a:bodyPr/>
          <a:lstStyle/>
          <a:p>
            <a:fld id="{CAD289FC-94DA-414F-BF09-0C2EF808B77F}" type="slidenum">
              <a:rPr lang="en-US" smtClean="0"/>
              <a:t>‹#›</a:t>
            </a:fld>
            <a:endParaRPr lang="en-US"/>
          </a:p>
        </p:txBody>
      </p:sp>
      <p:sp>
        <p:nvSpPr>
          <p:cNvPr id="9" name="TextBox 8">
            <a:extLst>
              <a:ext uri="{FF2B5EF4-FFF2-40B4-BE49-F238E27FC236}">
                <a16:creationId xmlns:a16="http://schemas.microsoft.com/office/drawing/2014/main" id="{E65B7025-31B6-C7EE-DD8A-BAAFAACECB3F}"/>
              </a:ext>
            </a:extLst>
          </p:cNvPr>
          <p:cNvSpPr txBox="1"/>
          <p:nvPr/>
        </p:nvSpPr>
        <p:spPr>
          <a:xfrm>
            <a:off x="545524" y="-338593"/>
            <a:ext cx="1938351"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hree columns</a:t>
            </a:r>
          </a:p>
        </p:txBody>
      </p:sp>
      <p:cxnSp>
        <p:nvCxnSpPr>
          <p:cNvPr id="10" name="Straight Connector 9">
            <a:extLst>
              <a:ext uri="{FF2B5EF4-FFF2-40B4-BE49-F238E27FC236}">
                <a16:creationId xmlns:a16="http://schemas.microsoft.com/office/drawing/2014/main" id="{5998DC90-6FCB-1BB3-774A-ED5F4A70D9E5}"/>
              </a:ext>
            </a:extLst>
          </p:cNvPr>
          <p:cNvCxnSpPr>
            <a:cxnSpLocks/>
          </p:cNvCxnSpPr>
          <p:nvPr/>
        </p:nvCxnSpPr>
        <p:spPr>
          <a:xfrm flipV="1">
            <a:off x="435552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CF8B4B4-E396-F330-8060-7ABD0D0F0EBB}"/>
              </a:ext>
            </a:extLst>
          </p:cNvPr>
          <p:cNvCxnSpPr>
            <a:cxnSpLocks/>
          </p:cNvCxnSpPr>
          <p:nvPr/>
        </p:nvCxnSpPr>
        <p:spPr>
          <a:xfrm flipV="1">
            <a:off x="40290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D987B5-BE4B-EF21-B280-50EDE9466693}"/>
              </a:ext>
            </a:extLst>
          </p:cNvPr>
          <p:cNvCxnSpPr>
            <a:cxnSpLocks/>
          </p:cNvCxnSpPr>
          <p:nvPr/>
        </p:nvCxnSpPr>
        <p:spPr>
          <a:xfrm flipV="1">
            <a:off x="5442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9E8FD2F-0117-77AB-4FCE-280A7F62F05E}"/>
              </a:ext>
            </a:extLst>
          </p:cNvPr>
          <p:cNvCxnSpPr>
            <a:cxnSpLocks/>
          </p:cNvCxnSpPr>
          <p:nvPr/>
        </p:nvCxnSpPr>
        <p:spPr>
          <a:xfrm flipV="1">
            <a:off x="78390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B37CC39-97ED-5768-2DA4-8B04CE5F171E}"/>
              </a:ext>
            </a:extLst>
          </p:cNvPr>
          <p:cNvCxnSpPr>
            <a:cxnSpLocks/>
          </p:cNvCxnSpPr>
          <p:nvPr/>
        </p:nvCxnSpPr>
        <p:spPr>
          <a:xfrm flipV="1">
            <a:off x="816292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12C13362-F1AE-5AD7-5981-23FBD7E2795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23" name="Picture Placeholder 22">
            <a:extLst>
              <a:ext uri="{FF2B5EF4-FFF2-40B4-BE49-F238E27FC236}">
                <a16:creationId xmlns:a16="http://schemas.microsoft.com/office/drawing/2014/main" id="{F305A140-AB28-4D62-21D6-9EB8E0A2D9BC}"/>
              </a:ext>
            </a:extLst>
          </p:cNvPr>
          <p:cNvSpPr>
            <a:spLocks noGrp="1" noChangeAspect="1"/>
          </p:cNvSpPr>
          <p:nvPr>
            <p:ph type="pic" sz="quarter" idx="18"/>
          </p:nvPr>
        </p:nvSpPr>
        <p:spPr>
          <a:xfrm>
            <a:off x="546950" y="1713649"/>
            <a:ext cx="720000" cy="720000"/>
          </a:xfrm>
        </p:spPr>
        <p:txBody>
          <a:bodyPr/>
          <a:lstStyle>
            <a:lvl1pPr>
              <a:defRPr sz="800"/>
            </a:lvl1pPr>
          </a:lstStyle>
          <a:p>
            <a:r>
              <a:rPr lang="en-US"/>
              <a:t>Click icon to add picture</a:t>
            </a:r>
            <a:endParaRPr lang="en-GB" dirty="0"/>
          </a:p>
        </p:txBody>
      </p:sp>
      <p:sp>
        <p:nvSpPr>
          <p:cNvPr id="24" name="Picture Placeholder 22">
            <a:extLst>
              <a:ext uri="{FF2B5EF4-FFF2-40B4-BE49-F238E27FC236}">
                <a16:creationId xmlns:a16="http://schemas.microsoft.com/office/drawing/2014/main" id="{7545260F-D2FC-4EBC-D43E-AF6113EBCFFB}"/>
              </a:ext>
            </a:extLst>
          </p:cNvPr>
          <p:cNvSpPr>
            <a:spLocks noGrp="1" noChangeAspect="1"/>
          </p:cNvSpPr>
          <p:nvPr>
            <p:ph type="pic" sz="quarter" idx="19"/>
          </p:nvPr>
        </p:nvSpPr>
        <p:spPr>
          <a:xfrm>
            <a:off x="4355525" y="1713649"/>
            <a:ext cx="720000" cy="720000"/>
          </a:xfrm>
        </p:spPr>
        <p:txBody>
          <a:bodyPr/>
          <a:lstStyle>
            <a:lvl1pPr>
              <a:defRPr sz="800"/>
            </a:lvl1pPr>
          </a:lstStyle>
          <a:p>
            <a:r>
              <a:rPr lang="en-US"/>
              <a:t>Click icon to add picture</a:t>
            </a:r>
            <a:endParaRPr lang="en-GB"/>
          </a:p>
        </p:txBody>
      </p:sp>
      <p:sp>
        <p:nvSpPr>
          <p:cNvPr id="25" name="Picture Placeholder 22">
            <a:extLst>
              <a:ext uri="{FF2B5EF4-FFF2-40B4-BE49-F238E27FC236}">
                <a16:creationId xmlns:a16="http://schemas.microsoft.com/office/drawing/2014/main" id="{566AFC4C-2C60-8B0F-D4F1-CED775A65735}"/>
              </a:ext>
            </a:extLst>
          </p:cNvPr>
          <p:cNvSpPr>
            <a:spLocks noGrp="1" noChangeAspect="1"/>
          </p:cNvSpPr>
          <p:nvPr>
            <p:ph type="pic" sz="quarter" idx="20"/>
          </p:nvPr>
        </p:nvSpPr>
        <p:spPr>
          <a:xfrm>
            <a:off x="8162925" y="1713649"/>
            <a:ext cx="720000" cy="720000"/>
          </a:xfrm>
        </p:spPr>
        <p:txBody>
          <a:bodyPr/>
          <a:lstStyle>
            <a:lvl1pPr>
              <a:defRPr sz="800"/>
            </a:lvl1pPr>
          </a:lstStyle>
          <a:p>
            <a:r>
              <a:rPr lang="en-US"/>
              <a:t>Click icon to add picture</a:t>
            </a:r>
            <a:endParaRPr lang="en-GB"/>
          </a:p>
        </p:txBody>
      </p:sp>
      <p:sp>
        <p:nvSpPr>
          <p:cNvPr id="11" name="Text Placeholder 15">
            <a:extLst>
              <a:ext uri="{FF2B5EF4-FFF2-40B4-BE49-F238E27FC236}">
                <a16:creationId xmlns:a16="http://schemas.microsoft.com/office/drawing/2014/main" id="{34929C9D-4E8F-79D5-FB31-61D33E72FAB1}"/>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149048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A2ADE3-680C-162E-8977-B4A7BDDF762E}"/>
              </a:ext>
            </a:extLst>
          </p:cNvPr>
          <p:cNvSpPr/>
          <p:nvPr userDrawn="1"/>
        </p:nvSpPr>
        <p:spPr>
          <a:xfrm>
            <a:off x="-2926" y="0"/>
            <a:ext cx="1219492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aphic 7">
            <a:extLst>
              <a:ext uri="{FF2B5EF4-FFF2-40B4-BE49-F238E27FC236}">
                <a16:creationId xmlns:a16="http://schemas.microsoft.com/office/drawing/2014/main" id="{7163AAD8-FE68-D145-F9FF-20948A307E03}"/>
              </a:ext>
            </a:extLst>
          </p:cNvPr>
          <p:cNvGrpSpPr/>
          <p:nvPr userDrawn="1"/>
        </p:nvGrpSpPr>
        <p:grpSpPr>
          <a:xfrm>
            <a:off x="10312009" y="358805"/>
            <a:ext cx="1484313" cy="313023"/>
            <a:chOff x="2534931" y="608064"/>
            <a:chExt cx="1484313" cy="313023"/>
          </a:xfrm>
          <a:solidFill>
            <a:schemeClr val="bg1"/>
          </a:solidFill>
        </p:grpSpPr>
        <p:sp>
          <p:nvSpPr>
            <p:cNvPr id="9" name="Freeform: Shape 8">
              <a:extLst>
                <a:ext uri="{FF2B5EF4-FFF2-40B4-BE49-F238E27FC236}">
                  <a16:creationId xmlns:a16="http://schemas.microsoft.com/office/drawing/2014/main" id="{89CA86AD-56D6-F196-F5C9-74DA1AD10868}"/>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93A8046-AAF8-3C30-AE22-B5589A02012C}"/>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85F7CEA-BB9E-4104-5ECA-F4A1AC72958D}"/>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5366D50-8535-3253-00DE-4E00B3B21ECF}"/>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2228C92-5254-EAAA-EE06-50BCADDC6041}"/>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B718FA07-9A1A-C371-2255-45B8F6431796}"/>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16B33CF-0B75-8FF3-321E-19D003F7C0B1}"/>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9F0C2AD-CEA6-7C47-E94D-5EF406984709}"/>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C3B50B20-1072-4E59-C058-22CF15204A89}"/>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6787206-6AFA-2F17-005A-CCF4A285EC96}"/>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AF3779BF-F811-8691-641E-173B14E18D8E}"/>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307AB03-F310-0193-7B54-6D2CAC44C157}"/>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3E1A335-E118-EF12-892B-69D444B42FCC}"/>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71070055-53F2-16FB-6D26-F05A5C353F4A}"/>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578765C-03A9-94A9-193D-4F13B1AAD593}"/>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8DFBBBA-C196-D8CB-B232-D740F8E2472B}"/>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43819260-C58B-ACB3-CDBC-5333298A193F}"/>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A5736B4C-1294-EFFE-8BE3-063AE7F1B248}"/>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7899193-547D-08D7-B68E-8FB1DA6B876C}"/>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C355DA7C-9EB1-ABE1-7963-955254E6B499}"/>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4533E93-748F-C4B9-FC84-94A27C3BF911}"/>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sp>
        <p:nvSpPr>
          <p:cNvPr id="12" name="Text Placeholder 15">
            <a:extLst>
              <a:ext uri="{FF2B5EF4-FFF2-40B4-BE49-F238E27FC236}">
                <a16:creationId xmlns:a16="http://schemas.microsoft.com/office/drawing/2014/main" id="{EDF290E9-F8D1-11C6-069F-E655446215A0}"/>
              </a:ext>
            </a:extLst>
          </p:cNvPr>
          <p:cNvSpPr>
            <a:spLocks noGrp="1"/>
          </p:cNvSpPr>
          <p:nvPr>
            <p:ph type="body" sz="quarter" idx="13" hasCustomPrompt="1"/>
          </p:nvPr>
        </p:nvSpPr>
        <p:spPr>
          <a:xfrm>
            <a:off x="541338" y="1009185"/>
            <a:ext cx="11107738" cy="256054"/>
          </a:xfrm>
        </p:spPr>
        <p:txBody>
          <a:bodyPr/>
          <a:lstStyle>
            <a:lvl1pPr>
              <a:lnSpc>
                <a:spcPct val="90000"/>
              </a:lnSpc>
              <a:defRPr sz="2400" b="0">
                <a:solidFill>
                  <a:schemeClr val="accent4"/>
                </a:solidFill>
                <a:latin typeface="+mj-lt"/>
              </a:defRPr>
            </a:lvl1pPr>
          </a:lstStyle>
          <a:p>
            <a:pPr lvl="0"/>
            <a:r>
              <a:rPr lang="en-GB" dirty="0"/>
              <a:t>Click to add subtitle</a:t>
            </a:r>
          </a:p>
        </p:txBody>
      </p:sp>
      <p:sp>
        <p:nvSpPr>
          <p:cNvPr id="13" name="Title 12">
            <a:extLst>
              <a:ext uri="{FF2B5EF4-FFF2-40B4-BE49-F238E27FC236}">
                <a16:creationId xmlns:a16="http://schemas.microsoft.com/office/drawing/2014/main" id="{7A6C4B58-49FF-A0AE-949A-4AC26F07C976}"/>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2" name="Date Placeholder 1">
            <a:extLst>
              <a:ext uri="{FF2B5EF4-FFF2-40B4-BE49-F238E27FC236}">
                <a16:creationId xmlns:a16="http://schemas.microsoft.com/office/drawing/2014/main" id="{1FD90C12-CE75-5512-BEB0-A5BC4135D838}"/>
              </a:ext>
            </a:extLst>
          </p:cNvPr>
          <p:cNvSpPr>
            <a:spLocks noGrp="1"/>
          </p:cNvSpPr>
          <p:nvPr>
            <p:ph type="dt" sz="half" idx="14"/>
          </p:nvPr>
        </p:nvSpPr>
        <p:spPr/>
        <p:txBody>
          <a:bodyPr/>
          <a:lstStyle>
            <a:lvl1pPr>
              <a:defRPr>
                <a:solidFill>
                  <a:schemeClr val="bg1"/>
                </a:solidFill>
              </a:defRPr>
            </a:lvl1pPr>
          </a:lstStyle>
          <a:p>
            <a:fld id="{BEB22B47-D53E-4036-966D-BBC0284ADB56}" type="datetimeFigureOut">
              <a:rPr lang="en-US" smtClean="0"/>
              <a:pPr/>
              <a:t>3/13/26</a:t>
            </a:fld>
            <a:endParaRPr lang="en-US"/>
          </a:p>
        </p:txBody>
      </p:sp>
      <p:sp>
        <p:nvSpPr>
          <p:cNvPr id="3" name="Footer Placeholder 2">
            <a:extLst>
              <a:ext uri="{FF2B5EF4-FFF2-40B4-BE49-F238E27FC236}">
                <a16:creationId xmlns:a16="http://schemas.microsoft.com/office/drawing/2014/main" id="{CF12E343-BEDE-4FE0-1665-2C41553DFE3E}"/>
              </a:ext>
            </a:extLst>
          </p:cNvPr>
          <p:cNvSpPr>
            <a:spLocks noGrp="1"/>
          </p:cNvSpPr>
          <p:nvPr>
            <p:ph type="ftr" sz="quarter" idx="15"/>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31641BEC-CB30-60B8-1F27-DF69A5465E69}"/>
              </a:ext>
            </a:extLst>
          </p:cNvPr>
          <p:cNvSpPr>
            <a:spLocks noGrp="1"/>
          </p:cNvSpPr>
          <p:nvPr>
            <p:ph type="sldNum" sz="quarter" idx="16"/>
          </p:nvPr>
        </p:nvSpPr>
        <p:spPr/>
        <p:txBody>
          <a:bodyPr/>
          <a:lstStyle>
            <a:lvl1pPr>
              <a:defRPr>
                <a:solidFill>
                  <a:schemeClr val="bg1"/>
                </a:solidFill>
              </a:defRPr>
            </a:lvl1pPr>
          </a:lstStyle>
          <a:p>
            <a:fld id="{CAD289FC-94DA-414F-BF09-0C2EF808B77F}" type="slidenum">
              <a:rPr lang="en-US" smtClean="0"/>
              <a:pPr/>
              <a:t>‹#›</a:t>
            </a:fld>
            <a:endParaRPr lang="en-US"/>
          </a:p>
        </p:txBody>
      </p:sp>
      <p:sp>
        <p:nvSpPr>
          <p:cNvPr id="5" name="TextBox 4">
            <a:extLst>
              <a:ext uri="{FF2B5EF4-FFF2-40B4-BE49-F238E27FC236}">
                <a16:creationId xmlns:a16="http://schemas.microsoft.com/office/drawing/2014/main" id="{6F63DE93-6D87-D511-3039-1BFD4A696B7A}"/>
              </a:ext>
            </a:extLst>
          </p:cNvPr>
          <p:cNvSpPr txBox="1"/>
          <p:nvPr/>
        </p:nvSpPr>
        <p:spPr>
          <a:xfrm>
            <a:off x="545524" y="-338593"/>
            <a:ext cx="1544525"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itle only</a:t>
            </a:r>
          </a:p>
        </p:txBody>
      </p:sp>
      <p:cxnSp>
        <p:nvCxnSpPr>
          <p:cNvPr id="8" name="Straight Connector 7">
            <a:extLst>
              <a:ext uri="{FF2B5EF4-FFF2-40B4-BE49-F238E27FC236}">
                <a16:creationId xmlns:a16="http://schemas.microsoft.com/office/drawing/2014/main" id="{ED0798E3-ECFB-414B-989D-E12B9BD4C9A9}"/>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E43D00F3-C861-57E2-FD6D-002B0B305EEE}"/>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BD174AB-DCF7-CD6E-B31D-F9F7C6E543C7}"/>
              </a:ext>
            </a:extLst>
          </p:cNvPr>
          <p:cNvSpPr txBox="1"/>
          <p:nvPr userDrawn="1"/>
        </p:nvSpPr>
        <p:spPr>
          <a:xfrm>
            <a:off x="900000" y="6408000"/>
            <a:ext cx="271188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bg1"/>
                </a:solidFill>
                <a:effectLst/>
                <a:uLnTx/>
                <a:uFillTx/>
                <a:latin typeface="Aptos Regular"/>
                <a:ea typeface="+mn-ea"/>
                <a:cs typeface="+mn-cs"/>
              </a:rPr>
              <a:t>SES Space &amp; Defense Proprietary and Confidential</a:t>
            </a:r>
            <a:endParaRPr lang="en-GB" sz="800" dirty="0">
              <a:solidFill>
                <a:schemeClr val="bg1"/>
              </a:solidFill>
            </a:endParaRPr>
          </a:p>
        </p:txBody>
      </p:sp>
    </p:spTree>
    <p:extLst>
      <p:ext uri="{BB962C8B-B14F-4D97-AF65-F5344CB8AC3E}">
        <p14:creationId xmlns:p14="http://schemas.microsoft.com/office/powerpoint/2010/main" val="214197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s with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86E6A5E1-5311-0F3A-12CF-8633AA629632}"/>
              </a:ext>
            </a:extLst>
          </p:cNvPr>
          <p:cNvSpPr>
            <a:spLocks noGrp="1"/>
          </p:cNvSpPr>
          <p:nvPr>
            <p:ph sz="half" idx="1"/>
          </p:nvPr>
        </p:nvSpPr>
        <p:spPr>
          <a:xfrm>
            <a:off x="540000" y="1700212"/>
            <a:ext cx="5394076" cy="4537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Date Placeholder 4">
            <a:extLst>
              <a:ext uri="{FF2B5EF4-FFF2-40B4-BE49-F238E27FC236}">
                <a16:creationId xmlns:a16="http://schemas.microsoft.com/office/drawing/2014/main" id="{4222D9B2-C5CF-9DCD-6725-684810963492}"/>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6" name="Footer Placeholder 5">
            <a:extLst>
              <a:ext uri="{FF2B5EF4-FFF2-40B4-BE49-F238E27FC236}">
                <a16:creationId xmlns:a16="http://schemas.microsoft.com/office/drawing/2014/main" id="{43DF58DA-5592-ABC3-1DF8-24B6D7EFE285}"/>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2EE77887-8959-8FE3-54A6-C61937632BB7}"/>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8" name="TextBox 7">
            <a:extLst>
              <a:ext uri="{FF2B5EF4-FFF2-40B4-BE49-F238E27FC236}">
                <a16:creationId xmlns:a16="http://schemas.microsoft.com/office/drawing/2014/main" id="{68C41429-E698-1F7B-18A4-3283C7DBEB99}"/>
              </a:ext>
            </a:extLst>
          </p:cNvPr>
          <p:cNvSpPr txBox="1"/>
          <p:nvPr/>
        </p:nvSpPr>
        <p:spPr>
          <a:xfrm>
            <a:off x="545524" y="-338593"/>
            <a:ext cx="2571986"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wo columns with boxes</a:t>
            </a:r>
          </a:p>
        </p:txBody>
      </p:sp>
      <p:cxnSp>
        <p:nvCxnSpPr>
          <p:cNvPr id="15" name="Straight Connector 14">
            <a:extLst>
              <a:ext uri="{FF2B5EF4-FFF2-40B4-BE49-F238E27FC236}">
                <a16:creationId xmlns:a16="http://schemas.microsoft.com/office/drawing/2014/main" id="{2D269D15-E14F-DCF4-AA27-39CBE89FB1C3}"/>
              </a:ext>
            </a:extLst>
          </p:cNvPr>
          <p:cNvCxnSpPr>
            <a:cxnSpLocks/>
          </p:cNvCxnSpPr>
          <p:nvPr/>
        </p:nvCxnSpPr>
        <p:spPr>
          <a:xfrm flipV="1">
            <a:off x="593887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D3602D-FD8A-711D-8C71-9B9171B0C9F3}"/>
              </a:ext>
            </a:extLst>
          </p:cNvPr>
          <p:cNvCxnSpPr>
            <a:cxnSpLocks/>
          </p:cNvCxnSpPr>
          <p:nvPr/>
        </p:nvCxnSpPr>
        <p:spPr>
          <a:xfrm flipV="1">
            <a:off x="6264001"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46B10BD-B77F-43CC-722D-815D8D6C6E8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514449F-FEFD-4368-F435-0B56A68569F8}"/>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Text Placeholder 17">
            <a:extLst>
              <a:ext uri="{FF2B5EF4-FFF2-40B4-BE49-F238E27FC236}">
                <a16:creationId xmlns:a16="http://schemas.microsoft.com/office/drawing/2014/main" id="{AE72250A-C407-5D26-0FA2-7AA492BF7C0B}"/>
              </a:ext>
            </a:extLst>
          </p:cNvPr>
          <p:cNvSpPr>
            <a:spLocks noGrp="1"/>
          </p:cNvSpPr>
          <p:nvPr>
            <p:ph type="body" sz="quarter" idx="18"/>
          </p:nvPr>
        </p:nvSpPr>
        <p:spPr>
          <a:xfrm>
            <a:off x="6257926" y="1700212"/>
            <a:ext cx="2582097" cy="2074022"/>
          </a:xfrm>
          <a:prstGeom prst="roundRect">
            <a:avLst>
              <a:gd name="adj" fmla="val 11283"/>
            </a:avLst>
          </a:prstGeom>
          <a:solidFill>
            <a:srgbClr val="E6EBF5"/>
          </a:solidFill>
        </p:spPr>
        <p:txBody>
          <a:bodyPr lIns="162000" tIns="1007999" rIns="162000" bIns="108000" anchor="t"/>
          <a:lstStyle>
            <a:lvl1pPr>
              <a:defRPr sz="1200" b="0">
                <a:solidFill>
                  <a:schemeClr val="tx1"/>
                </a:solidFill>
                <a:latin typeface="+mj-lt"/>
              </a:defRPr>
            </a:lvl1pPr>
            <a:lvl2pPr marL="0">
              <a:spcBef>
                <a:spcPts val="0"/>
              </a:spcBef>
              <a:defRPr sz="1000">
                <a:latin typeface="+mj-lt"/>
              </a:defRPr>
            </a:lvl2pPr>
          </a:lstStyle>
          <a:p>
            <a:pPr lvl="0"/>
            <a:r>
              <a:rPr lang="en-US"/>
              <a:t>Click to edit Master text styles</a:t>
            </a:r>
          </a:p>
        </p:txBody>
      </p:sp>
      <p:sp>
        <p:nvSpPr>
          <p:cNvPr id="13" name="Text Placeholder 17">
            <a:extLst>
              <a:ext uri="{FF2B5EF4-FFF2-40B4-BE49-F238E27FC236}">
                <a16:creationId xmlns:a16="http://schemas.microsoft.com/office/drawing/2014/main" id="{CF699434-D0EB-7580-28B3-3CD6A02C988B}"/>
              </a:ext>
            </a:extLst>
          </p:cNvPr>
          <p:cNvSpPr>
            <a:spLocks noGrp="1"/>
          </p:cNvSpPr>
          <p:nvPr>
            <p:ph type="body" sz="quarter" idx="24"/>
          </p:nvPr>
        </p:nvSpPr>
        <p:spPr>
          <a:xfrm>
            <a:off x="6257926" y="4001186"/>
            <a:ext cx="5391148" cy="2236102"/>
          </a:xfrm>
          <a:prstGeom prst="roundRect">
            <a:avLst>
              <a:gd name="adj" fmla="val 9621"/>
            </a:avLst>
          </a:prstGeom>
          <a:solidFill>
            <a:srgbClr val="F2F4F8"/>
          </a:solidFill>
        </p:spPr>
        <p:txBody>
          <a:bodyPr lIns="1188000" tIns="108000" rIns="108000" bIns="108000" anchor="t"/>
          <a:lstStyle>
            <a:lvl1pPr>
              <a:defRPr sz="2000" b="0">
                <a:solidFill>
                  <a:schemeClr val="tx1"/>
                </a:solidFill>
                <a:latin typeface="+mj-lt"/>
              </a:defRPr>
            </a:lvl1pPr>
            <a:lvl2pPr marL="0">
              <a:spcBef>
                <a:spcPts val="1000"/>
              </a:spcBef>
              <a:defRPr sz="1400" b="1">
                <a:latin typeface="+mn-lt"/>
              </a:defRPr>
            </a:lvl2pPr>
          </a:lstStyle>
          <a:p>
            <a:pPr lvl="0"/>
            <a:r>
              <a:rPr lang="en-US"/>
              <a:t>Click to edit Master text styles</a:t>
            </a:r>
          </a:p>
          <a:p>
            <a:pPr lvl="1"/>
            <a:r>
              <a:rPr lang="en-US"/>
              <a:t>Second level</a:t>
            </a:r>
          </a:p>
        </p:txBody>
      </p:sp>
      <p:sp>
        <p:nvSpPr>
          <p:cNvPr id="22" name="Text Placeholder 17">
            <a:extLst>
              <a:ext uri="{FF2B5EF4-FFF2-40B4-BE49-F238E27FC236}">
                <a16:creationId xmlns:a16="http://schemas.microsoft.com/office/drawing/2014/main" id="{7A756A95-9D2D-1004-74E1-5DB97C66E90C}"/>
              </a:ext>
            </a:extLst>
          </p:cNvPr>
          <p:cNvSpPr>
            <a:spLocks noGrp="1"/>
          </p:cNvSpPr>
          <p:nvPr>
            <p:ph type="body" sz="quarter" idx="28"/>
          </p:nvPr>
        </p:nvSpPr>
        <p:spPr>
          <a:xfrm>
            <a:off x="9066976" y="1700212"/>
            <a:ext cx="2582098" cy="2074022"/>
          </a:xfrm>
          <a:prstGeom prst="roundRect">
            <a:avLst>
              <a:gd name="adj" fmla="val 11170"/>
            </a:avLst>
          </a:prstGeom>
          <a:solidFill>
            <a:schemeClr val="accent4">
              <a:lumMod val="20000"/>
              <a:lumOff val="80000"/>
            </a:schemeClr>
          </a:solidFill>
        </p:spPr>
        <p:txBody>
          <a:bodyPr lIns="162000" tIns="1007999" rIns="162000" bIns="108000" anchor="t"/>
          <a:lstStyle>
            <a:lvl1pPr>
              <a:defRPr sz="1200" b="0">
                <a:solidFill>
                  <a:schemeClr val="tx1"/>
                </a:solidFill>
                <a:latin typeface="+mj-lt"/>
              </a:defRPr>
            </a:lvl1pPr>
            <a:lvl2pPr marL="0">
              <a:spcBef>
                <a:spcPts val="0"/>
              </a:spcBef>
              <a:defRPr sz="1000">
                <a:latin typeface="+mj-lt"/>
              </a:defRPr>
            </a:lvl2pPr>
          </a:lstStyle>
          <a:p>
            <a:pPr lvl="0"/>
            <a:r>
              <a:rPr lang="en-US"/>
              <a:t>Click to edit Master text styles</a:t>
            </a:r>
          </a:p>
        </p:txBody>
      </p:sp>
      <p:sp>
        <p:nvSpPr>
          <p:cNvPr id="23" name="Content Placeholder 24">
            <a:extLst>
              <a:ext uri="{FF2B5EF4-FFF2-40B4-BE49-F238E27FC236}">
                <a16:creationId xmlns:a16="http://schemas.microsoft.com/office/drawing/2014/main" id="{2A95B2E8-4491-D99F-A7E6-5B52085E624F}"/>
              </a:ext>
            </a:extLst>
          </p:cNvPr>
          <p:cNvSpPr>
            <a:spLocks noGrp="1"/>
          </p:cNvSpPr>
          <p:nvPr>
            <p:ph sz="quarter" idx="29" hasCustomPrompt="1"/>
          </p:nvPr>
        </p:nvSpPr>
        <p:spPr>
          <a:xfrm>
            <a:off x="6451078" y="4155760"/>
            <a:ext cx="809257" cy="802765"/>
          </a:xfrm>
        </p:spPr>
        <p:txBody>
          <a:bodyPr wrap="square" tIns="144000" anchor="t" anchorCtr="0"/>
          <a:lstStyle>
            <a:lvl1pPr algn="ctr">
              <a:lnSpc>
                <a:spcPct val="60000"/>
              </a:lnSpc>
              <a:defRPr sz="6600" b="0">
                <a:solidFill>
                  <a:schemeClr val="tx1"/>
                </a:solidFill>
                <a:latin typeface="+mj-lt"/>
              </a:defRPr>
            </a:lvl1pPr>
          </a:lstStyle>
          <a:p>
            <a:pPr lvl="0"/>
            <a:r>
              <a:rPr lang="en-GB" dirty="0"/>
              <a:t>###</a:t>
            </a:r>
          </a:p>
        </p:txBody>
      </p:sp>
      <p:sp>
        <p:nvSpPr>
          <p:cNvPr id="10" name="Content Placeholder 24">
            <a:extLst>
              <a:ext uri="{FF2B5EF4-FFF2-40B4-BE49-F238E27FC236}">
                <a16:creationId xmlns:a16="http://schemas.microsoft.com/office/drawing/2014/main" id="{1E010E68-A3AB-0F70-8F9B-03DD5079846C}"/>
              </a:ext>
            </a:extLst>
          </p:cNvPr>
          <p:cNvSpPr>
            <a:spLocks noGrp="1"/>
          </p:cNvSpPr>
          <p:nvPr>
            <p:ph sz="quarter" idx="23" hasCustomPrompt="1"/>
          </p:nvPr>
        </p:nvSpPr>
        <p:spPr>
          <a:xfrm>
            <a:off x="6451078" y="1833184"/>
            <a:ext cx="809257" cy="802765"/>
          </a:xfrm>
        </p:spPr>
        <p:txBody>
          <a:bodyPr wrap="none" anchor="ctr"/>
          <a:lstStyle>
            <a:lvl1pPr>
              <a:lnSpc>
                <a:spcPct val="100000"/>
              </a:lnSpc>
              <a:defRPr sz="6600" b="0">
                <a:solidFill>
                  <a:schemeClr val="tx1"/>
                </a:solidFill>
                <a:latin typeface="+mj-lt"/>
              </a:defRPr>
            </a:lvl1pPr>
          </a:lstStyle>
          <a:p>
            <a:pPr lvl="0"/>
            <a:r>
              <a:rPr lang="en-GB" dirty="0"/>
              <a:t>###</a:t>
            </a:r>
          </a:p>
        </p:txBody>
      </p:sp>
      <p:sp>
        <p:nvSpPr>
          <p:cNvPr id="21" name="Content Placeholder 24">
            <a:extLst>
              <a:ext uri="{FF2B5EF4-FFF2-40B4-BE49-F238E27FC236}">
                <a16:creationId xmlns:a16="http://schemas.microsoft.com/office/drawing/2014/main" id="{92D52D69-7D99-0DFB-F498-9AACC26C32CF}"/>
              </a:ext>
            </a:extLst>
          </p:cNvPr>
          <p:cNvSpPr>
            <a:spLocks noGrp="1"/>
          </p:cNvSpPr>
          <p:nvPr>
            <p:ph sz="quarter" idx="27" hasCustomPrompt="1"/>
          </p:nvPr>
        </p:nvSpPr>
        <p:spPr>
          <a:xfrm>
            <a:off x="9230854" y="1833184"/>
            <a:ext cx="809257" cy="802765"/>
          </a:xfrm>
        </p:spPr>
        <p:txBody>
          <a:bodyPr wrap="none" anchor="ctr"/>
          <a:lstStyle>
            <a:lvl1pPr>
              <a:lnSpc>
                <a:spcPct val="100000"/>
              </a:lnSpc>
              <a:defRPr sz="6600" b="0">
                <a:solidFill>
                  <a:schemeClr val="tx1"/>
                </a:solidFill>
                <a:latin typeface="+mj-lt"/>
              </a:defRPr>
            </a:lvl1pPr>
          </a:lstStyle>
          <a:p>
            <a:pPr lvl="0"/>
            <a:r>
              <a:rPr lang="en-GB" dirty="0"/>
              <a:t>###</a:t>
            </a:r>
          </a:p>
        </p:txBody>
      </p:sp>
      <p:sp>
        <p:nvSpPr>
          <p:cNvPr id="4" name="Text Placeholder 15">
            <a:extLst>
              <a:ext uri="{FF2B5EF4-FFF2-40B4-BE49-F238E27FC236}">
                <a16:creationId xmlns:a16="http://schemas.microsoft.com/office/drawing/2014/main" id="{0ED6A1F7-6415-DBA0-2587-2E2A04CABCF8}"/>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72531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84">
          <p15:clr>
            <a:srgbClr val="FBAE40"/>
          </p15:clr>
        </p15:guide>
        <p15:guide id="2" pos="5572">
          <p15:clr>
            <a:srgbClr val="FBAE40"/>
          </p15:clr>
        </p15:guide>
        <p15:guide id="3" pos="5708">
          <p15:clr>
            <a:srgbClr val="FBAE40"/>
          </p15:clr>
        </p15:guide>
        <p15:guide id="4" pos="585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ur Text Boxes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5" name="Date Placeholder 4">
            <a:extLst>
              <a:ext uri="{FF2B5EF4-FFF2-40B4-BE49-F238E27FC236}">
                <a16:creationId xmlns:a16="http://schemas.microsoft.com/office/drawing/2014/main" id="{4222D9B2-C5CF-9DCD-6725-684810963492}"/>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6" name="Footer Placeholder 5">
            <a:extLst>
              <a:ext uri="{FF2B5EF4-FFF2-40B4-BE49-F238E27FC236}">
                <a16:creationId xmlns:a16="http://schemas.microsoft.com/office/drawing/2014/main" id="{43DF58DA-5592-ABC3-1DF8-24B6D7EFE285}"/>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2EE77887-8959-8FE3-54A6-C61937632BB7}"/>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8" name="TextBox 7">
            <a:extLst>
              <a:ext uri="{FF2B5EF4-FFF2-40B4-BE49-F238E27FC236}">
                <a16:creationId xmlns:a16="http://schemas.microsoft.com/office/drawing/2014/main" id="{68C41429-E698-1F7B-18A4-3283C7DBEB99}"/>
              </a:ext>
            </a:extLst>
          </p:cNvPr>
          <p:cNvSpPr txBox="1"/>
          <p:nvPr/>
        </p:nvSpPr>
        <p:spPr>
          <a:xfrm>
            <a:off x="545524" y="-338593"/>
            <a:ext cx="1943289"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four text boxes</a:t>
            </a:r>
          </a:p>
        </p:txBody>
      </p:sp>
      <p:cxnSp>
        <p:nvCxnSpPr>
          <p:cNvPr id="15" name="Straight Connector 14">
            <a:extLst>
              <a:ext uri="{FF2B5EF4-FFF2-40B4-BE49-F238E27FC236}">
                <a16:creationId xmlns:a16="http://schemas.microsoft.com/office/drawing/2014/main" id="{2D269D15-E14F-DCF4-AA27-39CBE89FB1C3}"/>
              </a:ext>
            </a:extLst>
          </p:cNvPr>
          <p:cNvCxnSpPr>
            <a:cxnSpLocks/>
          </p:cNvCxnSpPr>
          <p:nvPr/>
        </p:nvCxnSpPr>
        <p:spPr>
          <a:xfrm flipV="1">
            <a:off x="593887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D3602D-FD8A-711D-8C71-9B9171B0C9F3}"/>
              </a:ext>
            </a:extLst>
          </p:cNvPr>
          <p:cNvCxnSpPr>
            <a:cxnSpLocks/>
          </p:cNvCxnSpPr>
          <p:nvPr/>
        </p:nvCxnSpPr>
        <p:spPr>
          <a:xfrm flipV="1">
            <a:off x="6264001"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46B10BD-B77F-43CC-722D-815D8D6C6E8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514449F-FEFD-4368-F435-0B56A68569F8}"/>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24" name="Text Placeholder 23">
            <a:extLst>
              <a:ext uri="{FF2B5EF4-FFF2-40B4-BE49-F238E27FC236}">
                <a16:creationId xmlns:a16="http://schemas.microsoft.com/office/drawing/2014/main" id="{44011CB9-4EA4-052C-8C5F-582E956BDA87}"/>
              </a:ext>
            </a:extLst>
          </p:cNvPr>
          <p:cNvSpPr>
            <a:spLocks noGrp="1"/>
          </p:cNvSpPr>
          <p:nvPr>
            <p:ph type="body" sz="quarter" idx="25"/>
          </p:nvPr>
        </p:nvSpPr>
        <p:spPr>
          <a:xfrm>
            <a:off x="539750" y="1700214"/>
            <a:ext cx="5399088" cy="2132474"/>
          </a:xfrm>
          <a:prstGeom prst="roundRect">
            <a:avLst>
              <a:gd name="adj" fmla="val 10751"/>
            </a:avLst>
          </a:prstGeom>
          <a:solidFill>
            <a:srgbClr val="E8E4EF"/>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25" name="Text Placeholder 23">
            <a:extLst>
              <a:ext uri="{FF2B5EF4-FFF2-40B4-BE49-F238E27FC236}">
                <a16:creationId xmlns:a16="http://schemas.microsoft.com/office/drawing/2014/main" id="{B7D45FED-9067-A676-B6C6-1F85E7E650E1}"/>
              </a:ext>
            </a:extLst>
          </p:cNvPr>
          <p:cNvSpPr>
            <a:spLocks noGrp="1"/>
          </p:cNvSpPr>
          <p:nvPr>
            <p:ph type="body" sz="quarter" idx="26"/>
          </p:nvPr>
        </p:nvSpPr>
        <p:spPr>
          <a:xfrm>
            <a:off x="539750" y="4067861"/>
            <a:ext cx="5399088" cy="2169427"/>
          </a:xfrm>
          <a:prstGeom prst="roundRect">
            <a:avLst>
              <a:gd name="adj" fmla="val 10906"/>
            </a:avLst>
          </a:prstGeom>
          <a:solidFill>
            <a:srgbClr val="F2F4F8"/>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26" name="Text Placeholder 23">
            <a:extLst>
              <a:ext uri="{FF2B5EF4-FFF2-40B4-BE49-F238E27FC236}">
                <a16:creationId xmlns:a16="http://schemas.microsoft.com/office/drawing/2014/main" id="{F98110CF-44FA-D46D-52A3-A6647952B00D}"/>
              </a:ext>
            </a:extLst>
          </p:cNvPr>
          <p:cNvSpPr>
            <a:spLocks noGrp="1"/>
          </p:cNvSpPr>
          <p:nvPr>
            <p:ph type="body" sz="quarter" idx="27"/>
          </p:nvPr>
        </p:nvSpPr>
        <p:spPr>
          <a:xfrm>
            <a:off x="6264001" y="1700214"/>
            <a:ext cx="5399088" cy="2140338"/>
          </a:xfrm>
          <a:prstGeom prst="roundRect">
            <a:avLst>
              <a:gd name="adj" fmla="val 11049"/>
            </a:avLst>
          </a:prstGeom>
          <a:solidFill>
            <a:srgbClr val="E1E4F1"/>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27" name="Text Placeholder 23">
            <a:extLst>
              <a:ext uri="{FF2B5EF4-FFF2-40B4-BE49-F238E27FC236}">
                <a16:creationId xmlns:a16="http://schemas.microsoft.com/office/drawing/2014/main" id="{70DFC3B0-46F4-B682-5CE3-B8BA35C51899}"/>
              </a:ext>
            </a:extLst>
          </p:cNvPr>
          <p:cNvSpPr>
            <a:spLocks noGrp="1"/>
          </p:cNvSpPr>
          <p:nvPr>
            <p:ph type="body" sz="quarter" idx="28"/>
          </p:nvPr>
        </p:nvSpPr>
        <p:spPr>
          <a:xfrm>
            <a:off x="6264001" y="4067861"/>
            <a:ext cx="5399088" cy="2169427"/>
          </a:xfrm>
          <a:prstGeom prst="roundRect">
            <a:avLst>
              <a:gd name="adj" fmla="val 10611"/>
            </a:avLst>
          </a:prstGeom>
          <a:solidFill>
            <a:srgbClr val="EFF1EB"/>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3" name="Text Placeholder 15">
            <a:extLst>
              <a:ext uri="{FF2B5EF4-FFF2-40B4-BE49-F238E27FC236}">
                <a16:creationId xmlns:a16="http://schemas.microsoft.com/office/drawing/2014/main" id="{89388502-CD10-5579-5ACC-EB56C54198CA}"/>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18093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6">
          <p15:clr>
            <a:srgbClr val="FBAE40"/>
          </p15:clr>
        </p15:guide>
        <p15:guide id="2" pos="408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Text Boxe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5" name="Date Placeholder 4">
            <a:extLst>
              <a:ext uri="{FF2B5EF4-FFF2-40B4-BE49-F238E27FC236}">
                <a16:creationId xmlns:a16="http://schemas.microsoft.com/office/drawing/2014/main" id="{4222D9B2-C5CF-9DCD-6725-684810963492}"/>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6" name="Footer Placeholder 5">
            <a:extLst>
              <a:ext uri="{FF2B5EF4-FFF2-40B4-BE49-F238E27FC236}">
                <a16:creationId xmlns:a16="http://schemas.microsoft.com/office/drawing/2014/main" id="{43DF58DA-5592-ABC3-1DF8-24B6D7EFE285}"/>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2EE77887-8959-8FE3-54A6-C61937632BB7}"/>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8" name="TextBox 7">
            <a:extLst>
              <a:ext uri="{FF2B5EF4-FFF2-40B4-BE49-F238E27FC236}">
                <a16:creationId xmlns:a16="http://schemas.microsoft.com/office/drawing/2014/main" id="{68C41429-E698-1F7B-18A4-3283C7DBEB99}"/>
              </a:ext>
            </a:extLst>
          </p:cNvPr>
          <p:cNvSpPr txBox="1"/>
          <p:nvPr/>
        </p:nvSpPr>
        <p:spPr>
          <a:xfrm>
            <a:off x="545524" y="-338593"/>
            <a:ext cx="1943289"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four text boxes</a:t>
            </a:r>
          </a:p>
        </p:txBody>
      </p:sp>
      <p:cxnSp>
        <p:nvCxnSpPr>
          <p:cNvPr id="15" name="Straight Connector 14">
            <a:extLst>
              <a:ext uri="{FF2B5EF4-FFF2-40B4-BE49-F238E27FC236}">
                <a16:creationId xmlns:a16="http://schemas.microsoft.com/office/drawing/2014/main" id="{2D269D15-E14F-DCF4-AA27-39CBE89FB1C3}"/>
              </a:ext>
            </a:extLst>
          </p:cNvPr>
          <p:cNvCxnSpPr>
            <a:cxnSpLocks/>
          </p:cNvCxnSpPr>
          <p:nvPr/>
        </p:nvCxnSpPr>
        <p:spPr>
          <a:xfrm flipV="1">
            <a:off x="593887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D3602D-FD8A-711D-8C71-9B9171B0C9F3}"/>
              </a:ext>
            </a:extLst>
          </p:cNvPr>
          <p:cNvCxnSpPr>
            <a:cxnSpLocks/>
          </p:cNvCxnSpPr>
          <p:nvPr/>
        </p:nvCxnSpPr>
        <p:spPr>
          <a:xfrm flipV="1">
            <a:off x="6264001"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46B10BD-B77F-43CC-722D-815D8D6C6E84}"/>
              </a:ext>
            </a:extLst>
          </p:cNvPr>
          <p:cNvCxnSpPr>
            <a:cxnSpLocks/>
          </p:cNvCxnSpPr>
          <p:nvPr/>
        </p:nvCxnSpPr>
        <p:spPr>
          <a:xfrm flipV="1">
            <a:off x="1164907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514449F-FEFD-4368-F435-0B56A68569F8}"/>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24" name="Text Placeholder 23">
            <a:extLst>
              <a:ext uri="{FF2B5EF4-FFF2-40B4-BE49-F238E27FC236}">
                <a16:creationId xmlns:a16="http://schemas.microsoft.com/office/drawing/2014/main" id="{44011CB9-4EA4-052C-8C5F-582E956BDA87}"/>
              </a:ext>
            </a:extLst>
          </p:cNvPr>
          <p:cNvSpPr>
            <a:spLocks noGrp="1"/>
          </p:cNvSpPr>
          <p:nvPr>
            <p:ph type="body" sz="quarter" idx="25"/>
          </p:nvPr>
        </p:nvSpPr>
        <p:spPr>
          <a:xfrm>
            <a:off x="539750" y="1700214"/>
            <a:ext cx="5399088" cy="2132474"/>
          </a:xfrm>
          <a:prstGeom prst="roundRect">
            <a:avLst>
              <a:gd name="adj" fmla="val 10751"/>
            </a:avLst>
          </a:prstGeom>
          <a:solidFill>
            <a:srgbClr val="C2BCD4"/>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25" name="Text Placeholder 23">
            <a:extLst>
              <a:ext uri="{FF2B5EF4-FFF2-40B4-BE49-F238E27FC236}">
                <a16:creationId xmlns:a16="http://schemas.microsoft.com/office/drawing/2014/main" id="{B7D45FED-9067-A676-B6C6-1F85E7E650E1}"/>
              </a:ext>
            </a:extLst>
          </p:cNvPr>
          <p:cNvSpPr>
            <a:spLocks noGrp="1"/>
          </p:cNvSpPr>
          <p:nvPr>
            <p:ph type="body" sz="quarter" idx="26"/>
          </p:nvPr>
        </p:nvSpPr>
        <p:spPr>
          <a:xfrm>
            <a:off x="539750" y="4067861"/>
            <a:ext cx="5399088" cy="2169427"/>
          </a:xfrm>
          <a:prstGeom prst="roundRect">
            <a:avLst>
              <a:gd name="adj" fmla="val 10906"/>
            </a:avLst>
          </a:prstGeom>
          <a:solidFill>
            <a:srgbClr val="DBDFED"/>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26" name="Text Placeholder 23">
            <a:extLst>
              <a:ext uri="{FF2B5EF4-FFF2-40B4-BE49-F238E27FC236}">
                <a16:creationId xmlns:a16="http://schemas.microsoft.com/office/drawing/2014/main" id="{F98110CF-44FA-D46D-52A3-A6647952B00D}"/>
              </a:ext>
            </a:extLst>
          </p:cNvPr>
          <p:cNvSpPr>
            <a:spLocks noGrp="1"/>
          </p:cNvSpPr>
          <p:nvPr>
            <p:ph type="body" sz="quarter" idx="27"/>
          </p:nvPr>
        </p:nvSpPr>
        <p:spPr>
          <a:xfrm>
            <a:off x="6264001" y="1700214"/>
            <a:ext cx="5399088" cy="2140338"/>
          </a:xfrm>
          <a:prstGeom prst="roundRect">
            <a:avLst>
              <a:gd name="adj" fmla="val 11049"/>
            </a:avLst>
          </a:prstGeom>
          <a:solidFill>
            <a:srgbClr val="C6CCE0"/>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27" name="Text Placeholder 23">
            <a:extLst>
              <a:ext uri="{FF2B5EF4-FFF2-40B4-BE49-F238E27FC236}">
                <a16:creationId xmlns:a16="http://schemas.microsoft.com/office/drawing/2014/main" id="{70DFC3B0-46F4-B682-5CE3-B8BA35C51899}"/>
              </a:ext>
            </a:extLst>
          </p:cNvPr>
          <p:cNvSpPr>
            <a:spLocks noGrp="1"/>
          </p:cNvSpPr>
          <p:nvPr>
            <p:ph type="body" sz="quarter" idx="28"/>
          </p:nvPr>
        </p:nvSpPr>
        <p:spPr>
          <a:xfrm>
            <a:off x="6264001" y="4067861"/>
            <a:ext cx="5399088" cy="2169427"/>
          </a:xfrm>
          <a:prstGeom prst="roundRect">
            <a:avLst>
              <a:gd name="adj" fmla="val 10611"/>
            </a:avLst>
          </a:prstGeom>
          <a:solidFill>
            <a:srgbClr val="D9DECE"/>
          </a:solidFill>
        </p:spPr>
        <p:txBody>
          <a:bodyPr lIns="144000" tIns="251999" rIns="144000" bIns="108000"/>
          <a:lstStyle>
            <a:lvl1pPr>
              <a:defRPr sz="2000"/>
            </a:lvl1pPr>
            <a:lvl2pPr>
              <a:defRPr sz="1600"/>
            </a:lvl2pPr>
            <a:lvl3pPr marL="0" indent="0">
              <a:buNone/>
              <a:defRPr sz="1400"/>
            </a:lvl3pPr>
          </a:lstStyle>
          <a:p>
            <a:pPr lvl="0"/>
            <a:r>
              <a:rPr lang="en-US"/>
              <a:t>Click to edit Master text styles</a:t>
            </a:r>
          </a:p>
          <a:p>
            <a:pPr lvl="1"/>
            <a:r>
              <a:rPr lang="en-US"/>
              <a:t>Second level</a:t>
            </a:r>
          </a:p>
          <a:p>
            <a:pPr lvl="2"/>
            <a:r>
              <a:rPr lang="en-US"/>
              <a:t>Third level</a:t>
            </a:r>
          </a:p>
        </p:txBody>
      </p:sp>
      <p:sp>
        <p:nvSpPr>
          <p:cNvPr id="3" name="Text Placeholder 15">
            <a:extLst>
              <a:ext uri="{FF2B5EF4-FFF2-40B4-BE49-F238E27FC236}">
                <a16:creationId xmlns:a16="http://schemas.microsoft.com/office/drawing/2014/main" id="{21379CA0-A184-F11C-62D2-E037A45FD9C9}"/>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25877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6">
          <p15:clr>
            <a:srgbClr val="FBAE40"/>
          </p15:clr>
        </p15:guide>
        <p15:guide id="2" pos="408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n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5" name="Content Placeholder 3">
            <a:extLst>
              <a:ext uri="{FF2B5EF4-FFF2-40B4-BE49-F238E27FC236}">
                <a16:creationId xmlns:a16="http://schemas.microsoft.com/office/drawing/2014/main" id="{30A83721-CE06-6232-999E-31CEAEF829B9}"/>
              </a:ext>
            </a:extLst>
          </p:cNvPr>
          <p:cNvSpPr>
            <a:spLocks noGrp="1"/>
          </p:cNvSpPr>
          <p:nvPr>
            <p:ph sz="half" idx="14"/>
          </p:nvPr>
        </p:nvSpPr>
        <p:spPr>
          <a:xfrm>
            <a:off x="4355525" y="1700212"/>
            <a:ext cx="7293550" cy="4537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3" name="Date Placeholder 2">
            <a:extLst>
              <a:ext uri="{FF2B5EF4-FFF2-40B4-BE49-F238E27FC236}">
                <a16:creationId xmlns:a16="http://schemas.microsoft.com/office/drawing/2014/main" id="{9018B1F5-3AE9-5487-C7A9-33FA80E9CDBA}"/>
              </a:ext>
            </a:extLst>
          </p:cNvPr>
          <p:cNvSpPr>
            <a:spLocks noGrp="1"/>
          </p:cNvSpPr>
          <p:nvPr>
            <p:ph type="dt" sz="half" idx="15"/>
          </p:nvPr>
        </p:nvSpPr>
        <p:spPr/>
        <p:txBody>
          <a:bodyPr/>
          <a:lstStyle/>
          <a:p>
            <a:fld id="{BEB22B47-D53E-4036-966D-BBC0284ADB56}" type="datetimeFigureOut">
              <a:rPr lang="en-US" smtClean="0"/>
              <a:t>3/13/26</a:t>
            </a:fld>
            <a:endParaRPr lang="en-US"/>
          </a:p>
        </p:txBody>
      </p:sp>
      <p:sp>
        <p:nvSpPr>
          <p:cNvPr id="4" name="Footer Placeholder 3">
            <a:extLst>
              <a:ext uri="{FF2B5EF4-FFF2-40B4-BE49-F238E27FC236}">
                <a16:creationId xmlns:a16="http://schemas.microsoft.com/office/drawing/2014/main" id="{196F0382-09C1-DBB4-927F-380B1356926F}"/>
              </a:ext>
            </a:extLst>
          </p:cNvPr>
          <p:cNvSpPr>
            <a:spLocks noGrp="1"/>
          </p:cNvSpPr>
          <p:nvPr>
            <p:ph type="ftr" sz="quarter" idx="16"/>
          </p:nvPr>
        </p:nvSpPr>
        <p:spPr/>
        <p:txBody>
          <a:bodyPr/>
          <a:lstStyle/>
          <a:p>
            <a:endParaRPr lang="en-US"/>
          </a:p>
        </p:txBody>
      </p:sp>
      <p:sp>
        <p:nvSpPr>
          <p:cNvPr id="6" name="Slide Number Placeholder 5">
            <a:extLst>
              <a:ext uri="{FF2B5EF4-FFF2-40B4-BE49-F238E27FC236}">
                <a16:creationId xmlns:a16="http://schemas.microsoft.com/office/drawing/2014/main" id="{3A4DE8CF-4BCB-F56D-C78A-4933958FD7B8}"/>
              </a:ext>
            </a:extLst>
          </p:cNvPr>
          <p:cNvSpPr>
            <a:spLocks noGrp="1"/>
          </p:cNvSpPr>
          <p:nvPr>
            <p:ph type="sldNum" sz="quarter" idx="17"/>
          </p:nvPr>
        </p:nvSpPr>
        <p:spPr/>
        <p:txBody>
          <a:bodyPr/>
          <a:lstStyle/>
          <a:p>
            <a:fld id="{CAD289FC-94DA-414F-BF09-0C2EF808B77F}" type="slidenum">
              <a:rPr lang="en-US" smtClean="0"/>
              <a:t>‹#›</a:t>
            </a:fld>
            <a:endParaRPr lang="en-US"/>
          </a:p>
        </p:txBody>
      </p:sp>
      <p:sp>
        <p:nvSpPr>
          <p:cNvPr id="7" name="TextBox 6">
            <a:extLst>
              <a:ext uri="{FF2B5EF4-FFF2-40B4-BE49-F238E27FC236}">
                <a16:creationId xmlns:a16="http://schemas.microsoft.com/office/drawing/2014/main" id="{5CD43C87-174E-E39B-6679-F5F1E7EA61EA}"/>
              </a:ext>
            </a:extLst>
          </p:cNvPr>
          <p:cNvSpPr txBox="1"/>
          <p:nvPr/>
        </p:nvSpPr>
        <p:spPr>
          <a:xfrm>
            <a:off x="545524" y="-338593"/>
            <a:ext cx="1836272"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1+2 columns</a:t>
            </a:r>
          </a:p>
        </p:txBody>
      </p:sp>
      <p:cxnSp>
        <p:nvCxnSpPr>
          <p:cNvPr id="8" name="Straight Connector 7">
            <a:extLst>
              <a:ext uri="{FF2B5EF4-FFF2-40B4-BE49-F238E27FC236}">
                <a16:creationId xmlns:a16="http://schemas.microsoft.com/office/drawing/2014/main" id="{C4734E44-1416-0C76-8B93-0731D61C821C}"/>
              </a:ext>
            </a:extLst>
          </p:cNvPr>
          <p:cNvCxnSpPr>
            <a:cxnSpLocks/>
          </p:cNvCxnSpPr>
          <p:nvPr/>
        </p:nvCxnSpPr>
        <p:spPr>
          <a:xfrm flipV="1">
            <a:off x="5399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E237A973-7178-CB8A-D923-8A6D416D6937}"/>
              </a:ext>
            </a:extLst>
          </p:cNvPr>
          <p:cNvCxnSpPr>
            <a:cxnSpLocks/>
          </p:cNvCxnSpPr>
          <p:nvPr/>
        </p:nvCxnSpPr>
        <p:spPr>
          <a:xfrm flipV="1">
            <a:off x="40290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797EC73-1732-B0ED-1CA7-4C0DAB51788E}"/>
              </a:ext>
            </a:extLst>
          </p:cNvPr>
          <p:cNvCxnSpPr>
            <a:cxnSpLocks/>
          </p:cNvCxnSpPr>
          <p:nvPr/>
        </p:nvCxnSpPr>
        <p:spPr>
          <a:xfrm flipV="1">
            <a:off x="4355524"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20C2B514-AF2E-983D-21BA-AD5D9EA3E85B}"/>
              </a:ext>
            </a:extLst>
          </p:cNvPr>
          <p:cNvCxnSpPr>
            <a:cxnSpLocks/>
          </p:cNvCxnSpPr>
          <p:nvPr/>
        </p:nvCxnSpPr>
        <p:spPr>
          <a:xfrm flipV="1">
            <a:off x="116490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18" name="Text Placeholder 17">
            <a:extLst>
              <a:ext uri="{FF2B5EF4-FFF2-40B4-BE49-F238E27FC236}">
                <a16:creationId xmlns:a16="http://schemas.microsoft.com/office/drawing/2014/main" id="{DB6FE521-CCDB-064D-1836-1C7310153E30}"/>
              </a:ext>
            </a:extLst>
          </p:cNvPr>
          <p:cNvSpPr>
            <a:spLocks noGrp="1"/>
          </p:cNvSpPr>
          <p:nvPr>
            <p:ph type="body" sz="quarter" idx="18"/>
          </p:nvPr>
        </p:nvSpPr>
        <p:spPr>
          <a:xfrm>
            <a:off x="539999" y="1700213"/>
            <a:ext cx="1633289" cy="1992861"/>
          </a:xfrm>
          <a:prstGeom prst="roundRect">
            <a:avLst>
              <a:gd name="adj" fmla="val 13945"/>
            </a:avLst>
          </a:prstGeom>
          <a:solidFill>
            <a:srgbClr val="F2F4F8"/>
          </a:solidFill>
        </p:spPr>
        <p:txBody>
          <a:bodyPr lIns="144000" tIns="756000" rIns="144000" bIns="108000" anchor="t"/>
          <a:lstStyle>
            <a:lvl1pPr>
              <a:defRPr sz="1000"/>
            </a:lvl1pPr>
            <a:lvl2pPr marL="0">
              <a:spcBef>
                <a:spcPts val="0"/>
              </a:spcBef>
              <a:defRPr sz="1000">
                <a:latin typeface="+mj-lt"/>
              </a:defRPr>
            </a:lvl2pPr>
          </a:lstStyle>
          <a:p>
            <a:pPr lvl="0"/>
            <a:r>
              <a:rPr lang="en-US"/>
              <a:t>Click to edit Master text styles</a:t>
            </a:r>
          </a:p>
          <a:p>
            <a:pPr lvl="1"/>
            <a:r>
              <a:rPr lang="en-US"/>
              <a:t>Second level</a:t>
            </a:r>
          </a:p>
        </p:txBody>
      </p:sp>
      <p:sp>
        <p:nvSpPr>
          <p:cNvPr id="20" name="Text Placeholder 17">
            <a:extLst>
              <a:ext uri="{FF2B5EF4-FFF2-40B4-BE49-F238E27FC236}">
                <a16:creationId xmlns:a16="http://schemas.microsoft.com/office/drawing/2014/main" id="{1347592C-7C26-9D32-C372-B771CDC143BF}"/>
              </a:ext>
            </a:extLst>
          </p:cNvPr>
          <p:cNvSpPr>
            <a:spLocks noGrp="1"/>
          </p:cNvSpPr>
          <p:nvPr>
            <p:ph type="body" sz="quarter" idx="19"/>
          </p:nvPr>
        </p:nvSpPr>
        <p:spPr>
          <a:xfrm>
            <a:off x="2389288" y="1700213"/>
            <a:ext cx="1633405" cy="2304011"/>
          </a:xfrm>
          <a:prstGeom prst="roundRect">
            <a:avLst>
              <a:gd name="adj" fmla="val 12779"/>
            </a:avLst>
          </a:prstGeom>
          <a:solidFill>
            <a:srgbClr val="F2F4F8"/>
          </a:solidFill>
        </p:spPr>
        <p:txBody>
          <a:bodyPr lIns="144000" tIns="756000" rIns="144000" bIns="108000" anchor="t"/>
          <a:lstStyle>
            <a:lvl1pPr>
              <a:defRPr sz="1000"/>
            </a:lvl1pPr>
            <a:lvl2pPr marL="0">
              <a:spcBef>
                <a:spcPts val="0"/>
              </a:spcBef>
              <a:defRPr sz="1000">
                <a:latin typeface="+mj-lt"/>
              </a:defRPr>
            </a:lvl2pPr>
          </a:lstStyle>
          <a:p>
            <a:pPr lvl="0"/>
            <a:r>
              <a:rPr lang="en-US"/>
              <a:t>Click to edit Master text styles</a:t>
            </a:r>
          </a:p>
          <a:p>
            <a:pPr lvl="1"/>
            <a:r>
              <a:rPr lang="en-US"/>
              <a:t>Second level</a:t>
            </a:r>
          </a:p>
        </p:txBody>
      </p:sp>
      <p:sp>
        <p:nvSpPr>
          <p:cNvPr id="21" name="Text Placeholder 17">
            <a:extLst>
              <a:ext uri="{FF2B5EF4-FFF2-40B4-BE49-F238E27FC236}">
                <a16:creationId xmlns:a16="http://schemas.microsoft.com/office/drawing/2014/main" id="{138E9C8F-F426-4953-F15B-FA07B0C2652B}"/>
              </a:ext>
            </a:extLst>
          </p:cNvPr>
          <p:cNvSpPr>
            <a:spLocks noGrp="1"/>
          </p:cNvSpPr>
          <p:nvPr>
            <p:ph type="body" sz="quarter" idx="20"/>
          </p:nvPr>
        </p:nvSpPr>
        <p:spPr>
          <a:xfrm>
            <a:off x="2381795" y="4220224"/>
            <a:ext cx="1640897" cy="2017063"/>
          </a:xfrm>
          <a:prstGeom prst="roundRect">
            <a:avLst>
              <a:gd name="adj" fmla="val 12217"/>
            </a:avLst>
          </a:prstGeom>
          <a:solidFill>
            <a:srgbClr val="F2F4F8"/>
          </a:solidFill>
        </p:spPr>
        <p:txBody>
          <a:bodyPr lIns="144000" tIns="756000" rIns="144000" bIns="108000" anchor="t"/>
          <a:lstStyle>
            <a:lvl1pPr>
              <a:defRPr sz="1000"/>
            </a:lvl1pPr>
            <a:lvl2pPr marL="0">
              <a:spcBef>
                <a:spcPts val="0"/>
              </a:spcBef>
              <a:defRPr sz="1000">
                <a:latin typeface="+mj-lt"/>
              </a:defRPr>
            </a:lvl2pPr>
          </a:lstStyle>
          <a:p>
            <a:pPr lvl="0"/>
            <a:r>
              <a:rPr lang="en-US"/>
              <a:t>Click to edit Master text styles</a:t>
            </a:r>
          </a:p>
          <a:p>
            <a:pPr lvl="1"/>
            <a:r>
              <a:rPr lang="en-US"/>
              <a:t>Second level</a:t>
            </a:r>
          </a:p>
        </p:txBody>
      </p:sp>
      <p:sp>
        <p:nvSpPr>
          <p:cNvPr id="22" name="Text Placeholder 17">
            <a:extLst>
              <a:ext uri="{FF2B5EF4-FFF2-40B4-BE49-F238E27FC236}">
                <a16:creationId xmlns:a16="http://schemas.microsoft.com/office/drawing/2014/main" id="{5CA75F0C-2F73-3719-792E-C8B37D8E9B4D}"/>
              </a:ext>
            </a:extLst>
          </p:cNvPr>
          <p:cNvSpPr>
            <a:spLocks noGrp="1"/>
          </p:cNvSpPr>
          <p:nvPr>
            <p:ph type="body" sz="quarter" idx="21"/>
          </p:nvPr>
        </p:nvSpPr>
        <p:spPr>
          <a:xfrm>
            <a:off x="539999" y="3904859"/>
            <a:ext cx="1633290" cy="2336389"/>
          </a:xfrm>
          <a:prstGeom prst="roundRect">
            <a:avLst>
              <a:gd name="adj" fmla="val 13557"/>
            </a:avLst>
          </a:prstGeom>
          <a:solidFill>
            <a:srgbClr val="F2F4F8"/>
          </a:solidFill>
        </p:spPr>
        <p:txBody>
          <a:bodyPr lIns="144000" tIns="756000" rIns="144000" bIns="108000" anchor="t"/>
          <a:lstStyle>
            <a:lvl1pPr>
              <a:defRPr sz="1000"/>
            </a:lvl1pPr>
            <a:lvl2pPr marL="0">
              <a:spcBef>
                <a:spcPts val="0"/>
              </a:spcBef>
              <a:defRPr sz="1000">
                <a:latin typeface="+mj-lt"/>
              </a:defRPr>
            </a:lvl2pPr>
          </a:lstStyle>
          <a:p>
            <a:pPr lvl="0"/>
            <a:r>
              <a:rPr lang="en-US"/>
              <a:t>Click to edit Master text styles</a:t>
            </a:r>
          </a:p>
          <a:p>
            <a:pPr lvl="1"/>
            <a:r>
              <a:rPr lang="en-US"/>
              <a:t>Second level</a:t>
            </a:r>
          </a:p>
        </p:txBody>
      </p:sp>
      <p:sp>
        <p:nvSpPr>
          <p:cNvPr id="25" name="Content Placeholder 24">
            <a:extLst>
              <a:ext uri="{FF2B5EF4-FFF2-40B4-BE49-F238E27FC236}">
                <a16:creationId xmlns:a16="http://schemas.microsoft.com/office/drawing/2014/main" id="{417A1BDF-8A27-D91D-C44F-FB630B9FCDD6}"/>
              </a:ext>
            </a:extLst>
          </p:cNvPr>
          <p:cNvSpPr>
            <a:spLocks noGrp="1"/>
          </p:cNvSpPr>
          <p:nvPr>
            <p:ph sz="quarter" idx="23" hasCustomPrompt="1"/>
          </p:nvPr>
        </p:nvSpPr>
        <p:spPr>
          <a:xfrm>
            <a:off x="733151" y="1833185"/>
            <a:ext cx="576000" cy="576000"/>
          </a:xfrm>
        </p:spPr>
        <p:txBody>
          <a:bodyPr wrap="none" anchor="ctr" anchorCtr="0"/>
          <a:lstStyle>
            <a:lvl1pPr>
              <a:lnSpc>
                <a:spcPct val="100000"/>
              </a:lnSpc>
              <a:defRPr sz="4000" b="0">
                <a:latin typeface="+mj-lt"/>
              </a:defRPr>
            </a:lvl1pPr>
          </a:lstStyle>
          <a:p>
            <a:pPr lvl="0"/>
            <a:r>
              <a:rPr lang="en-GB" dirty="0"/>
              <a:t>###</a:t>
            </a:r>
          </a:p>
        </p:txBody>
      </p:sp>
      <p:sp>
        <p:nvSpPr>
          <p:cNvPr id="26" name="Content Placeholder 24">
            <a:extLst>
              <a:ext uri="{FF2B5EF4-FFF2-40B4-BE49-F238E27FC236}">
                <a16:creationId xmlns:a16="http://schemas.microsoft.com/office/drawing/2014/main" id="{220E0578-8E3B-EBA0-9E27-636E912D3AB0}"/>
              </a:ext>
            </a:extLst>
          </p:cNvPr>
          <p:cNvSpPr>
            <a:spLocks noGrp="1"/>
          </p:cNvSpPr>
          <p:nvPr>
            <p:ph sz="quarter" idx="24" hasCustomPrompt="1"/>
          </p:nvPr>
        </p:nvSpPr>
        <p:spPr>
          <a:xfrm>
            <a:off x="2577717" y="1833185"/>
            <a:ext cx="576000" cy="576000"/>
          </a:xfrm>
        </p:spPr>
        <p:txBody>
          <a:bodyPr wrap="none"/>
          <a:lstStyle>
            <a:lvl1pPr>
              <a:lnSpc>
                <a:spcPct val="100000"/>
              </a:lnSpc>
              <a:defRPr sz="4000" b="0">
                <a:latin typeface="+mj-lt"/>
              </a:defRPr>
            </a:lvl1pPr>
          </a:lstStyle>
          <a:p>
            <a:pPr lvl="0"/>
            <a:r>
              <a:rPr lang="en-GB" dirty="0"/>
              <a:t>###</a:t>
            </a:r>
          </a:p>
        </p:txBody>
      </p:sp>
      <p:sp>
        <p:nvSpPr>
          <p:cNvPr id="27" name="Content Placeholder 24">
            <a:extLst>
              <a:ext uri="{FF2B5EF4-FFF2-40B4-BE49-F238E27FC236}">
                <a16:creationId xmlns:a16="http://schemas.microsoft.com/office/drawing/2014/main" id="{375A8E56-2566-F0FA-8EE9-5493DEC82E36}"/>
              </a:ext>
            </a:extLst>
          </p:cNvPr>
          <p:cNvSpPr>
            <a:spLocks noGrp="1"/>
          </p:cNvSpPr>
          <p:nvPr>
            <p:ph sz="quarter" idx="25" hasCustomPrompt="1"/>
          </p:nvPr>
        </p:nvSpPr>
        <p:spPr>
          <a:xfrm>
            <a:off x="2577717" y="4339902"/>
            <a:ext cx="576000" cy="576000"/>
          </a:xfrm>
        </p:spPr>
        <p:txBody>
          <a:bodyPr wrap="none" anchor="ctr" anchorCtr="0"/>
          <a:lstStyle>
            <a:lvl1pPr>
              <a:lnSpc>
                <a:spcPct val="100000"/>
              </a:lnSpc>
              <a:defRPr sz="4000" b="0">
                <a:latin typeface="+mj-lt"/>
              </a:defRPr>
            </a:lvl1pPr>
          </a:lstStyle>
          <a:p>
            <a:pPr lvl="0"/>
            <a:r>
              <a:rPr lang="en-GB" dirty="0"/>
              <a:t>###</a:t>
            </a:r>
          </a:p>
        </p:txBody>
      </p:sp>
      <p:sp>
        <p:nvSpPr>
          <p:cNvPr id="28" name="Content Placeholder 24">
            <a:extLst>
              <a:ext uri="{FF2B5EF4-FFF2-40B4-BE49-F238E27FC236}">
                <a16:creationId xmlns:a16="http://schemas.microsoft.com/office/drawing/2014/main" id="{BDF2CB8E-BE60-FAEE-A34C-D54A1EFA2108}"/>
              </a:ext>
            </a:extLst>
          </p:cNvPr>
          <p:cNvSpPr>
            <a:spLocks noGrp="1"/>
          </p:cNvSpPr>
          <p:nvPr>
            <p:ph sz="quarter" idx="26" hasCustomPrompt="1"/>
          </p:nvPr>
        </p:nvSpPr>
        <p:spPr>
          <a:xfrm>
            <a:off x="733151" y="4024592"/>
            <a:ext cx="576000" cy="576000"/>
          </a:xfrm>
        </p:spPr>
        <p:txBody>
          <a:bodyPr wrap="none" anchor="ctr" anchorCtr="0"/>
          <a:lstStyle>
            <a:lvl1pPr>
              <a:lnSpc>
                <a:spcPct val="100000"/>
              </a:lnSpc>
              <a:defRPr sz="4000" b="0">
                <a:latin typeface="+mj-lt"/>
              </a:defRPr>
            </a:lvl1pPr>
          </a:lstStyle>
          <a:p>
            <a:pPr lvl="0"/>
            <a:r>
              <a:rPr lang="en-GB" dirty="0"/>
              <a:t>###</a:t>
            </a:r>
          </a:p>
        </p:txBody>
      </p:sp>
      <p:sp>
        <p:nvSpPr>
          <p:cNvPr id="11" name="Text Placeholder 15">
            <a:extLst>
              <a:ext uri="{FF2B5EF4-FFF2-40B4-BE49-F238E27FC236}">
                <a16:creationId xmlns:a16="http://schemas.microsoft.com/office/drawing/2014/main" id="{2A1DEE00-EAD1-81AF-97D1-A4C8C367E236}"/>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74378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4">
          <p15:clr>
            <a:srgbClr val="FBAE40"/>
          </p15:clr>
        </p15:guide>
        <p15:guide id="2" pos="163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Lef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4" name="Content Placeholder 3">
            <a:extLst>
              <a:ext uri="{FF2B5EF4-FFF2-40B4-BE49-F238E27FC236}">
                <a16:creationId xmlns:a16="http://schemas.microsoft.com/office/drawing/2014/main" id="{2CD52B7C-0402-A109-A696-DCB13384AB2F}"/>
              </a:ext>
            </a:extLst>
          </p:cNvPr>
          <p:cNvSpPr>
            <a:spLocks noGrp="1"/>
          </p:cNvSpPr>
          <p:nvPr>
            <p:ph sz="half" idx="2"/>
          </p:nvPr>
        </p:nvSpPr>
        <p:spPr>
          <a:xfrm>
            <a:off x="6257925" y="1700213"/>
            <a:ext cx="5391149" cy="4537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6" name="Picture Placeholder 5">
            <a:extLst>
              <a:ext uri="{FF2B5EF4-FFF2-40B4-BE49-F238E27FC236}">
                <a16:creationId xmlns:a16="http://schemas.microsoft.com/office/drawing/2014/main" id="{AFFBF4EA-844D-7C47-5082-D1D40E6CE038}"/>
              </a:ext>
            </a:extLst>
          </p:cNvPr>
          <p:cNvSpPr>
            <a:spLocks noGrp="1"/>
          </p:cNvSpPr>
          <p:nvPr>
            <p:ph type="pic" sz="quarter" idx="14"/>
          </p:nvPr>
        </p:nvSpPr>
        <p:spPr>
          <a:xfrm>
            <a:off x="539750" y="1700213"/>
            <a:ext cx="5394325" cy="4537075"/>
          </a:xfrm>
          <a:prstGeom prst="roundRect">
            <a:avLst>
              <a:gd name="adj" fmla="val 4738"/>
            </a:avLst>
          </a:prstGeom>
          <a:solidFill>
            <a:srgbClr val="F2F4F8"/>
          </a:solidFill>
        </p:spPr>
        <p:txBody>
          <a:bodyPr/>
          <a:lstStyle/>
          <a:p>
            <a:r>
              <a:rPr lang="en-US"/>
              <a:t>Click icon to add picture</a:t>
            </a:r>
            <a:endParaRPr lang="en-GB" dirty="0"/>
          </a:p>
        </p:txBody>
      </p:sp>
      <p:sp>
        <p:nvSpPr>
          <p:cNvPr id="3" name="Date Placeholder 2">
            <a:extLst>
              <a:ext uri="{FF2B5EF4-FFF2-40B4-BE49-F238E27FC236}">
                <a16:creationId xmlns:a16="http://schemas.microsoft.com/office/drawing/2014/main" id="{FB2A3970-FD47-5F5C-1756-9A3695A6827D}"/>
              </a:ext>
            </a:extLst>
          </p:cNvPr>
          <p:cNvSpPr>
            <a:spLocks noGrp="1"/>
          </p:cNvSpPr>
          <p:nvPr>
            <p:ph type="dt" sz="half" idx="15"/>
          </p:nvPr>
        </p:nvSpPr>
        <p:spPr/>
        <p:txBody>
          <a:bodyPr/>
          <a:lstStyle/>
          <a:p>
            <a:fld id="{BEB22B47-D53E-4036-966D-BBC0284ADB56}" type="datetimeFigureOut">
              <a:rPr lang="en-US" smtClean="0"/>
              <a:t>3/13/26</a:t>
            </a:fld>
            <a:endParaRPr lang="en-US"/>
          </a:p>
        </p:txBody>
      </p:sp>
      <p:sp>
        <p:nvSpPr>
          <p:cNvPr id="5" name="Footer Placeholder 4">
            <a:extLst>
              <a:ext uri="{FF2B5EF4-FFF2-40B4-BE49-F238E27FC236}">
                <a16:creationId xmlns:a16="http://schemas.microsoft.com/office/drawing/2014/main" id="{569140AE-2863-2460-8796-DFF9E5B35D08}"/>
              </a:ext>
            </a:extLst>
          </p:cNvPr>
          <p:cNvSpPr>
            <a:spLocks noGrp="1"/>
          </p:cNvSpPr>
          <p:nvPr>
            <p:ph type="ftr" sz="quarter" idx="16"/>
          </p:nvPr>
        </p:nvSpPr>
        <p:spPr/>
        <p:txBody>
          <a:bodyPr/>
          <a:lstStyle/>
          <a:p>
            <a:endParaRPr lang="en-US"/>
          </a:p>
        </p:txBody>
      </p:sp>
      <p:sp>
        <p:nvSpPr>
          <p:cNvPr id="7" name="Slide Number Placeholder 6">
            <a:extLst>
              <a:ext uri="{FF2B5EF4-FFF2-40B4-BE49-F238E27FC236}">
                <a16:creationId xmlns:a16="http://schemas.microsoft.com/office/drawing/2014/main" id="{67710E28-9450-8B3B-BDD4-96B558AC38AD}"/>
              </a:ext>
            </a:extLst>
          </p:cNvPr>
          <p:cNvSpPr>
            <a:spLocks noGrp="1"/>
          </p:cNvSpPr>
          <p:nvPr>
            <p:ph type="sldNum" sz="quarter" idx="17"/>
          </p:nvPr>
        </p:nvSpPr>
        <p:spPr/>
        <p:txBody>
          <a:bodyPr/>
          <a:lstStyle/>
          <a:p>
            <a:fld id="{CAD289FC-94DA-414F-BF09-0C2EF808B77F}" type="slidenum">
              <a:rPr lang="en-US" smtClean="0"/>
              <a:t>‹#›</a:t>
            </a:fld>
            <a:endParaRPr lang="en-US"/>
          </a:p>
        </p:txBody>
      </p:sp>
      <p:sp>
        <p:nvSpPr>
          <p:cNvPr id="8" name="TextBox 7">
            <a:extLst>
              <a:ext uri="{FF2B5EF4-FFF2-40B4-BE49-F238E27FC236}">
                <a16:creationId xmlns:a16="http://schemas.microsoft.com/office/drawing/2014/main" id="{A5F7D983-3FEE-C209-F6C3-268D41053583}"/>
              </a:ext>
            </a:extLst>
          </p:cNvPr>
          <p:cNvSpPr txBox="1"/>
          <p:nvPr/>
        </p:nvSpPr>
        <p:spPr>
          <a:xfrm>
            <a:off x="545524" y="-338593"/>
            <a:ext cx="2353914"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image left + text right</a:t>
            </a:r>
          </a:p>
        </p:txBody>
      </p:sp>
      <p:cxnSp>
        <p:nvCxnSpPr>
          <p:cNvPr id="9" name="Straight Connector 8">
            <a:extLst>
              <a:ext uri="{FF2B5EF4-FFF2-40B4-BE49-F238E27FC236}">
                <a16:creationId xmlns:a16="http://schemas.microsoft.com/office/drawing/2014/main" id="{0A92C31E-79E0-A573-AB4D-D321671C6E29}"/>
              </a:ext>
            </a:extLst>
          </p:cNvPr>
          <p:cNvCxnSpPr>
            <a:cxnSpLocks/>
          </p:cNvCxnSpPr>
          <p:nvPr/>
        </p:nvCxnSpPr>
        <p:spPr>
          <a:xfrm flipV="1">
            <a:off x="59388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DA3CA68-DCC7-043B-95A5-68684A359176}"/>
              </a:ext>
            </a:extLst>
          </p:cNvPr>
          <p:cNvCxnSpPr>
            <a:cxnSpLocks/>
          </p:cNvCxnSpPr>
          <p:nvPr/>
        </p:nvCxnSpPr>
        <p:spPr>
          <a:xfrm flipV="1">
            <a:off x="625792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C73806A7-363B-34D8-456C-26F046F416EF}"/>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76188A5C-E681-F214-2D0B-1C9A0C6B9F2C}"/>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ext Placeholder 15">
            <a:extLst>
              <a:ext uri="{FF2B5EF4-FFF2-40B4-BE49-F238E27FC236}">
                <a16:creationId xmlns:a16="http://schemas.microsoft.com/office/drawing/2014/main" id="{92049A93-72B3-C0A0-985B-8919A159E69C}"/>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82183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Right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FFBF4EA-844D-7C47-5082-D1D40E6CE038}"/>
              </a:ext>
            </a:extLst>
          </p:cNvPr>
          <p:cNvSpPr>
            <a:spLocks noGrp="1"/>
          </p:cNvSpPr>
          <p:nvPr>
            <p:ph type="pic" sz="quarter" idx="14"/>
          </p:nvPr>
        </p:nvSpPr>
        <p:spPr>
          <a:xfrm>
            <a:off x="6257925" y="1700213"/>
            <a:ext cx="5394325" cy="4537076"/>
          </a:xfrm>
          <a:prstGeom prst="roundRect">
            <a:avLst>
              <a:gd name="adj" fmla="val 4668"/>
            </a:avLst>
          </a:prstGeom>
          <a:solidFill>
            <a:srgbClr val="F2F4F8"/>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4" name="Content Placeholder 3">
            <a:extLst>
              <a:ext uri="{FF2B5EF4-FFF2-40B4-BE49-F238E27FC236}">
                <a16:creationId xmlns:a16="http://schemas.microsoft.com/office/drawing/2014/main" id="{2CD52B7C-0402-A109-A696-DCB13384AB2F}"/>
              </a:ext>
            </a:extLst>
          </p:cNvPr>
          <p:cNvSpPr>
            <a:spLocks noGrp="1"/>
          </p:cNvSpPr>
          <p:nvPr>
            <p:ph sz="half" idx="2"/>
          </p:nvPr>
        </p:nvSpPr>
        <p:spPr>
          <a:xfrm>
            <a:off x="542927" y="1700212"/>
            <a:ext cx="5391149" cy="4537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3" name="Date Placeholder 2">
            <a:extLst>
              <a:ext uri="{FF2B5EF4-FFF2-40B4-BE49-F238E27FC236}">
                <a16:creationId xmlns:a16="http://schemas.microsoft.com/office/drawing/2014/main" id="{402F4A0F-8650-DFCB-1276-EA4298D55EB5}"/>
              </a:ext>
            </a:extLst>
          </p:cNvPr>
          <p:cNvSpPr>
            <a:spLocks noGrp="1"/>
          </p:cNvSpPr>
          <p:nvPr>
            <p:ph type="dt" sz="half" idx="15"/>
          </p:nvPr>
        </p:nvSpPr>
        <p:spPr/>
        <p:txBody>
          <a:bodyPr/>
          <a:lstStyle/>
          <a:p>
            <a:fld id="{BEB22B47-D53E-4036-966D-BBC0284ADB56}" type="datetimeFigureOut">
              <a:rPr lang="en-US" smtClean="0"/>
              <a:t>3/13/26</a:t>
            </a:fld>
            <a:endParaRPr lang="en-US"/>
          </a:p>
        </p:txBody>
      </p:sp>
      <p:sp>
        <p:nvSpPr>
          <p:cNvPr id="5" name="Footer Placeholder 4">
            <a:extLst>
              <a:ext uri="{FF2B5EF4-FFF2-40B4-BE49-F238E27FC236}">
                <a16:creationId xmlns:a16="http://schemas.microsoft.com/office/drawing/2014/main" id="{E9A3E1BA-73F6-4501-A0E4-8817EAEF728E}"/>
              </a:ext>
            </a:extLst>
          </p:cNvPr>
          <p:cNvSpPr>
            <a:spLocks noGrp="1"/>
          </p:cNvSpPr>
          <p:nvPr>
            <p:ph type="ftr" sz="quarter" idx="16"/>
          </p:nvPr>
        </p:nvSpPr>
        <p:spPr/>
        <p:txBody>
          <a:bodyPr/>
          <a:lstStyle/>
          <a:p>
            <a:endParaRPr lang="en-US"/>
          </a:p>
        </p:txBody>
      </p:sp>
      <p:sp>
        <p:nvSpPr>
          <p:cNvPr id="7" name="Slide Number Placeholder 6">
            <a:extLst>
              <a:ext uri="{FF2B5EF4-FFF2-40B4-BE49-F238E27FC236}">
                <a16:creationId xmlns:a16="http://schemas.microsoft.com/office/drawing/2014/main" id="{F31A27AF-B446-DEF6-8A8D-8C453BAF66E8}"/>
              </a:ext>
            </a:extLst>
          </p:cNvPr>
          <p:cNvSpPr>
            <a:spLocks noGrp="1"/>
          </p:cNvSpPr>
          <p:nvPr>
            <p:ph type="sldNum" sz="quarter" idx="17"/>
          </p:nvPr>
        </p:nvSpPr>
        <p:spPr/>
        <p:txBody>
          <a:bodyPr/>
          <a:lstStyle/>
          <a:p>
            <a:fld id="{CAD289FC-94DA-414F-BF09-0C2EF808B77F}" type="slidenum">
              <a:rPr lang="en-US" smtClean="0"/>
              <a:t>‹#›</a:t>
            </a:fld>
            <a:endParaRPr lang="en-US"/>
          </a:p>
        </p:txBody>
      </p:sp>
      <p:sp>
        <p:nvSpPr>
          <p:cNvPr id="8" name="TextBox 7">
            <a:extLst>
              <a:ext uri="{FF2B5EF4-FFF2-40B4-BE49-F238E27FC236}">
                <a16:creationId xmlns:a16="http://schemas.microsoft.com/office/drawing/2014/main" id="{11957E2D-03D2-FD67-9154-8C49280438C2}"/>
              </a:ext>
            </a:extLst>
          </p:cNvPr>
          <p:cNvSpPr txBox="1"/>
          <p:nvPr/>
        </p:nvSpPr>
        <p:spPr>
          <a:xfrm>
            <a:off x="545524" y="-338593"/>
            <a:ext cx="2353914"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image right + text left</a:t>
            </a:r>
          </a:p>
        </p:txBody>
      </p:sp>
      <p:cxnSp>
        <p:nvCxnSpPr>
          <p:cNvPr id="9" name="Straight Connector 8">
            <a:extLst>
              <a:ext uri="{FF2B5EF4-FFF2-40B4-BE49-F238E27FC236}">
                <a16:creationId xmlns:a16="http://schemas.microsoft.com/office/drawing/2014/main" id="{0CFD3926-7E1D-717E-F1B1-4518E3453470}"/>
              </a:ext>
            </a:extLst>
          </p:cNvPr>
          <p:cNvCxnSpPr>
            <a:cxnSpLocks/>
          </p:cNvCxnSpPr>
          <p:nvPr/>
        </p:nvCxnSpPr>
        <p:spPr>
          <a:xfrm flipV="1">
            <a:off x="593887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4A0DF1E-6FC9-3C26-0742-A042F22A848E}"/>
              </a:ext>
            </a:extLst>
          </p:cNvPr>
          <p:cNvCxnSpPr>
            <a:cxnSpLocks/>
          </p:cNvCxnSpPr>
          <p:nvPr/>
        </p:nvCxnSpPr>
        <p:spPr>
          <a:xfrm flipV="1">
            <a:off x="6257925"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02536E5-61FA-A433-1354-15E107D542CA}"/>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8D90D837-59FD-3580-4614-4DD333D5E1D9}"/>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ext Placeholder 15">
            <a:extLst>
              <a:ext uri="{FF2B5EF4-FFF2-40B4-BE49-F238E27FC236}">
                <a16:creationId xmlns:a16="http://schemas.microsoft.com/office/drawing/2014/main" id="{4A5908D3-924F-8972-2C2C-FD99705C0101}"/>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156929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7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FFBF4EA-844D-7C47-5082-D1D40E6CE038}"/>
              </a:ext>
            </a:extLst>
          </p:cNvPr>
          <p:cNvSpPr>
            <a:spLocks noGrp="1"/>
          </p:cNvSpPr>
          <p:nvPr>
            <p:ph type="pic" sz="quarter" idx="14"/>
          </p:nvPr>
        </p:nvSpPr>
        <p:spPr>
          <a:xfrm>
            <a:off x="539999" y="1700213"/>
            <a:ext cx="11112251" cy="4537075"/>
          </a:xfrm>
          <a:prstGeom prst="roundRect">
            <a:avLst>
              <a:gd name="adj" fmla="val 5018"/>
            </a:avLst>
          </a:prstGeom>
          <a:solidFill>
            <a:srgbClr val="F2F4F8"/>
          </a:solidFill>
        </p:spPr>
        <p:txBody>
          <a:bodyPr/>
          <a:lstStyle/>
          <a:p>
            <a:r>
              <a:rPr lang="en-US"/>
              <a:t>Click icon to add picture</a:t>
            </a:r>
            <a:endParaRPr lang="en-GB" dirty="0"/>
          </a:p>
        </p:txBody>
      </p:sp>
      <p:sp>
        <p:nvSpPr>
          <p:cNvPr id="2" name="Title 1">
            <a:extLst>
              <a:ext uri="{FF2B5EF4-FFF2-40B4-BE49-F238E27FC236}">
                <a16:creationId xmlns:a16="http://schemas.microsoft.com/office/drawing/2014/main" id="{7550B639-DA65-93D1-C8C8-4367EAAD978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084E7048-E44E-F911-1630-09D85D9BBB23}"/>
              </a:ext>
            </a:extLst>
          </p:cNvPr>
          <p:cNvSpPr>
            <a:spLocks noGrp="1"/>
          </p:cNvSpPr>
          <p:nvPr>
            <p:ph type="dt" sz="half" idx="15"/>
          </p:nvPr>
        </p:nvSpPr>
        <p:spPr/>
        <p:txBody>
          <a:bodyPr/>
          <a:lstStyle/>
          <a:p>
            <a:fld id="{BEB22B47-D53E-4036-966D-BBC0284ADB56}" type="datetimeFigureOut">
              <a:rPr lang="en-US" smtClean="0"/>
              <a:t>3/13/26</a:t>
            </a:fld>
            <a:endParaRPr lang="en-US"/>
          </a:p>
        </p:txBody>
      </p:sp>
      <p:sp>
        <p:nvSpPr>
          <p:cNvPr id="4" name="Footer Placeholder 3">
            <a:extLst>
              <a:ext uri="{FF2B5EF4-FFF2-40B4-BE49-F238E27FC236}">
                <a16:creationId xmlns:a16="http://schemas.microsoft.com/office/drawing/2014/main" id="{1F7F0A3B-38EF-6988-0566-F03712E4037D}"/>
              </a:ext>
            </a:extLst>
          </p:cNvPr>
          <p:cNvSpPr>
            <a:spLocks noGrp="1"/>
          </p:cNvSpPr>
          <p:nvPr>
            <p:ph type="ftr" sz="quarter" idx="16"/>
          </p:nvPr>
        </p:nvSpPr>
        <p:spPr/>
        <p:txBody>
          <a:bodyPr/>
          <a:lstStyle/>
          <a:p>
            <a:endParaRPr lang="en-US"/>
          </a:p>
        </p:txBody>
      </p:sp>
      <p:sp>
        <p:nvSpPr>
          <p:cNvPr id="5" name="Slide Number Placeholder 4">
            <a:extLst>
              <a:ext uri="{FF2B5EF4-FFF2-40B4-BE49-F238E27FC236}">
                <a16:creationId xmlns:a16="http://schemas.microsoft.com/office/drawing/2014/main" id="{DBE24742-DEFE-EEF3-C207-4B7AC5C74E68}"/>
              </a:ext>
            </a:extLst>
          </p:cNvPr>
          <p:cNvSpPr>
            <a:spLocks noGrp="1"/>
          </p:cNvSpPr>
          <p:nvPr>
            <p:ph type="sldNum" sz="quarter" idx="17"/>
          </p:nvPr>
        </p:nvSpPr>
        <p:spPr/>
        <p:txBody>
          <a:bodyPr/>
          <a:lstStyle/>
          <a:p>
            <a:fld id="{CAD289FC-94DA-414F-BF09-0C2EF808B77F}" type="slidenum">
              <a:rPr lang="en-US" smtClean="0"/>
              <a:t>‹#›</a:t>
            </a:fld>
            <a:endParaRPr lang="en-US"/>
          </a:p>
        </p:txBody>
      </p:sp>
      <p:sp>
        <p:nvSpPr>
          <p:cNvPr id="7" name="TextBox 6">
            <a:extLst>
              <a:ext uri="{FF2B5EF4-FFF2-40B4-BE49-F238E27FC236}">
                <a16:creationId xmlns:a16="http://schemas.microsoft.com/office/drawing/2014/main" id="{59288AA7-BB7A-8EC7-510B-02EAB58D0563}"/>
              </a:ext>
            </a:extLst>
          </p:cNvPr>
          <p:cNvSpPr txBox="1"/>
          <p:nvPr/>
        </p:nvSpPr>
        <p:spPr>
          <a:xfrm>
            <a:off x="545524" y="-338593"/>
            <a:ext cx="1626727"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full image</a:t>
            </a:r>
          </a:p>
        </p:txBody>
      </p:sp>
      <p:cxnSp>
        <p:nvCxnSpPr>
          <p:cNvPr id="10" name="Straight Connector 9">
            <a:extLst>
              <a:ext uri="{FF2B5EF4-FFF2-40B4-BE49-F238E27FC236}">
                <a16:creationId xmlns:a16="http://schemas.microsoft.com/office/drawing/2014/main" id="{B85706C1-7005-DF86-6DF2-6FA6CFE9337C}"/>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601DEF7-A4AA-CB2B-54B3-67A46C5FD1D3}"/>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8" name="Text Placeholder 15">
            <a:extLst>
              <a:ext uri="{FF2B5EF4-FFF2-40B4-BE49-F238E27FC236}">
                <a16:creationId xmlns:a16="http://schemas.microsoft.com/office/drawing/2014/main" id="{ECF2ED31-F291-D8DD-DFA0-28A45B9A382F}"/>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23504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7A6C4B58-49FF-A0AE-949A-4AC26F07C976}"/>
              </a:ext>
            </a:extLst>
          </p:cNvPr>
          <p:cNvSpPr>
            <a:spLocks noGrp="1"/>
          </p:cNvSpPr>
          <p:nvPr>
            <p:ph type="title"/>
          </p:nvPr>
        </p:nvSpPr>
        <p:spPr/>
        <p:txBody>
          <a:bodyPr/>
          <a:lstStyle/>
          <a:p>
            <a:r>
              <a:rPr lang="en-US"/>
              <a:t>Click to edit Master title style</a:t>
            </a:r>
            <a:endParaRPr lang="en-GB"/>
          </a:p>
        </p:txBody>
      </p:sp>
      <p:sp>
        <p:nvSpPr>
          <p:cNvPr id="2" name="Date Placeholder 1">
            <a:extLst>
              <a:ext uri="{FF2B5EF4-FFF2-40B4-BE49-F238E27FC236}">
                <a16:creationId xmlns:a16="http://schemas.microsoft.com/office/drawing/2014/main" id="{1FD90C12-CE75-5512-BEB0-A5BC4135D838}"/>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3" name="Footer Placeholder 2">
            <a:extLst>
              <a:ext uri="{FF2B5EF4-FFF2-40B4-BE49-F238E27FC236}">
                <a16:creationId xmlns:a16="http://schemas.microsoft.com/office/drawing/2014/main" id="{CF12E343-BEDE-4FE0-1665-2C41553DFE3E}"/>
              </a:ext>
            </a:extLst>
          </p:cNvPr>
          <p:cNvSpPr>
            <a:spLocks noGrp="1"/>
          </p:cNvSpPr>
          <p:nvPr>
            <p:ph type="ftr" sz="quarter" idx="15"/>
          </p:nvPr>
        </p:nvSpPr>
        <p:spPr/>
        <p:txBody>
          <a:bodyPr/>
          <a:lstStyle/>
          <a:p>
            <a:endParaRPr lang="en-US"/>
          </a:p>
        </p:txBody>
      </p:sp>
      <p:sp>
        <p:nvSpPr>
          <p:cNvPr id="4" name="Slide Number Placeholder 3">
            <a:extLst>
              <a:ext uri="{FF2B5EF4-FFF2-40B4-BE49-F238E27FC236}">
                <a16:creationId xmlns:a16="http://schemas.microsoft.com/office/drawing/2014/main" id="{31641BEC-CB30-60B8-1F27-DF69A5465E69}"/>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5" name="TextBox 4">
            <a:extLst>
              <a:ext uri="{FF2B5EF4-FFF2-40B4-BE49-F238E27FC236}">
                <a16:creationId xmlns:a16="http://schemas.microsoft.com/office/drawing/2014/main" id="{6F63DE93-6D87-D511-3039-1BFD4A696B7A}"/>
              </a:ext>
            </a:extLst>
          </p:cNvPr>
          <p:cNvSpPr txBox="1"/>
          <p:nvPr/>
        </p:nvSpPr>
        <p:spPr>
          <a:xfrm>
            <a:off x="545524" y="-338593"/>
            <a:ext cx="1544525"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itle only</a:t>
            </a:r>
          </a:p>
        </p:txBody>
      </p:sp>
      <p:cxnSp>
        <p:nvCxnSpPr>
          <p:cNvPr id="8" name="Straight Connector 7">
            <a:extLst>
              <a:ext uri="{FF2B5EF4-FFF2-40B4-BE49-F238E27FC236}">
                <a16:creationId xmlns:a16="http://schemas.microsoft.com/office/drawing/2014/main" id="{ED0798E3-ECFB-414B-989D-E12B9BD4C9A9}"/>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E43D00F3-C861-57E2-FD6D-002B0B305EEE}"/>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6" name="Text Placeholder 15">
            <a:extLst>
              <a:ext uri="{FF2B5EF4-FFF2-40B4-BE49-F238E27FC236}">
                <a16:creationId xmlns:a16="http://schemas.microsoft.com/office/drawing/2014/main" id="{928DFFD8-0586-7B55-68AB-28B4978093CE}"/>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Tree>
    <p:extLst>
      <p:ext uri="{BB962C8B-B14F-4D97-AF65-F5344CB8AC3E}">
        <p14:creationId xmlns:p14="http://schemas.microsoft.com/office/powerpoint/2010/main" val="364768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A2ADE3-680C-162E-8977-B4A7BDDF762E}"/>
              </a:ext>
            </a:extLst>
          </p:cNvPr>
          <p:cNvSpPr/>
          <p:nvPr userDrawn="1"/>
        </p:nvSpPr>
        <p:spPr>
          <a:xfrm>
            <a:off x="-2926" y="0"/>
            <a:ext cx="1219492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aphic 7">
            <a:extLst>
              <a:ext uri="{FF2B5EF4-FFF2-40B4-BE49-F238E27FC236}">
                <a16:creationId xmlns:a16="http://schemas.microsoft.com/office/drawing/2014/main" id="{7163AAD8-FE68-D145-F9FF-20948A307E03}"/>
              </a:ext>
            </a:extLst>
          </p:cNvPr>
          <p:cNvGrpSpPr/>
          <p:nvPr userDrawn="1"/>
        </p:nvGrpSpPr>
        <p:grpSpPr>
          <a:xfrm>
            <a:off x="10312009" y="358805"/>
            <a:ext cx="1484313" cy="313023"/>
            <a:chOff x="2534931" y="608064"/>
            <a:chExt cx="1484313" cy="313023"/>
          </a:xfrm>
          <a:solidFill>
            <a:schemeClr val="bg1"/>
          </a:solidFill>
        </p:grpSpPr>
        <p:sp>
          <p:nvSpPr>
            <p:cNvPr id="9" name="Freeform: Shape 8">
              <a:extLst>
                <a:ext uri="{FF2B5EF4-FFF2-40B4-BE49-F238E27FC236}">
                  <a16:creationId xmlns:a16="http://schemas.microsoft.com/office/drawing/2014/main" id="{89CA86AD-56D6-F196-F5C9-74DA1AD10868}"/>
                </a:ext>
              </a:extLst>
            </p:cNvPr>
            <p:cNvSpPr/>
            <p:nvPr/>
          </p:nvSpPr>
          <p:spPr>
            <a:xfrm>
              <a:off x="2587157" y="616745"/>
              <a:ext cx="304407" cy="304342"/>
            </a:xfrm>
            <a:custGeom>
              <a:avLst/>
              <a:gdLst>
                <a:gd name="connsiteX0" fmla="*/ 297667 w 304407"/>
                <a:gd name="connsiteY0" fmla="*/ 77486 h 304342"/>
                <a:gd name="connsiteX1" fmla="*/ 285309 w 304407"/>
                <a:gd name="connsiteY1" fmla="*/ 45760 h 304342"/>
                <a:gd name="connsiteX2" fmla="*/ 267875 w 304407"/>
                <a:gd name="connsiteY2" fmla="*/ 17966 h 304342"/>
                <a:gd name="connsiteX3" fmla="*/ 252165 w 304407"/>
                <a:gd name="connsiteY3" fmla="*/ 0 h 304342"/>
                <a:gd name="connsiteX4" fmla="*/ 216153 w 304407"/>
                <a:gd name="connsiteY4" fmla="*/ 126099 h 304342"/>
                <a:gd name="connsiteX5" fmla="*/ 174292 w 304407"/>
                <a:gd name="connsiteY5" fmla="*/ 174292 h 304342"/>
                <a:gd name="connsiteX6" fmla="*/ 126099 w 304407"/>
                <a:gd name="connsiteY6" fmla="*/ 216153 h 304342"/>
                <a:gd name="connsiteX7" fmla="*/ 0 w 304407"/>
                <a:gd name="connsiteY7" fmla="*/ 252165 h 304342"/>
                <a:gd name="connsiteX8" fmla="*/ 154087 w 304407"/>
                <a:gd name="connsiteY8" fmla="*/ 235021 h 304342"/>
                <a:gd name="connsiteX9" fmla="*/ 198364 w 304407"/>
                <a:gd name="connsiteY9" fmla="*/ 198348 h 304342"/>
                <a:gd name="connsiteX10" fmla="*/ 235037 w 304407"/>
                <a:gd name="connsiteY10" fmla="*/ 154070 h 304342"/>
                <a:gd name="connsiteX11" fmla="*/ 244866 w 304407"/>
                <a:gd name="connsiteY11" fmla="*/ 171730 h 304342"/>
                <a:gd name="connsiteX12" fmla="*/ 211899 w 304407"/>
                <a:gd name="connsiteY12" fmla="*/ 211867 h 304342"/>
                <a:gd name="connsiteX13" fmla="*/ 171762 w 304407"/>
                <a:gd name="connsiteY13" fmla="*/ 244818 h 304342"/>
                <a:gd name="connsiteX14" fmla="*/ 17966 w 304407"/>
                <a:gd name="connsiteY14" fmla="*/ 267859 h 304342"/>
                <a:gd name="connsiteX15" fmla="*/ 18224 w 304407"/>
                <a:gd name="connsiteY15" fmla="*/ 268052 h 304342"/>
                <a:gd name="connsiteX16" fmla="*/ 85833 w 304407"/>
                <a:gd name="connsiteY16" fmla="*/ 291673 h 304342"/>
                <a:gd name="connsiteX17" fmla="*/ 197591 w 304407"/>
                <a:gd name="connsiteY17" fmla="*/ 255694 h 304342"/>
                <a:gd name="connsiteX18" fmla="*/ 229269 w 304407"/>
                <a:gd name="connsiteY18" fmla="*/ 229236 h 304342"/>
                <a:gd name="connsiteX19" fmla="*/ 255742 w 304407"/>
                <a:gd name="connsiteY19" fmla="*/ 197543 h 304342"/>
                <a:gd name="connsiteX20" fmla="*/ 260592 w 304407"/>
                <a:gd name="connsiteY20" fmla="*/ 218376 h 304342"/>
                <a:gd name="connsiteX21" fmla="*/ 242175 w 304407"/>
                <a:gd name="connsiteY21" fmla="*/ 239468 h 304342"/>
                <a:gd name="connsiteX22" fmla="*/ 221212 w 304407"/>
                <a:gd name="connsiteY22" fmla="*/ 257772 h 304342"/>
                <a:gd name="connsiteX23" fmla="*/ 77374 w 304407"/>
                <a:gd name="connsiteY23" fmla="*/ 297587 h 304342"/>
                <a:gd name="connsiteX24" fmla="*/ 251521 w 304407"/>
                <a:gd name="connsiteY24" fmla="*/ 252761 h 304342"/>
                <a:gd name="connsiteX25" fmla="*/ 253889 w 304407"/>
                <a:gd name="connsiteY25" fmla="*/ 250344 h 304342"/>
                <a:gd name="connsiteX26" fmla="*/ 297684 w 304407"/>
                <a:gd name="connsiteY26" fmla="*/ 77438 h 304342"/>
                <a:gd name="connsiteX27" fmla="*/ 258594 w 304407"/>
                <a:gd name="connsiteY27" fmla="*/ 242030 h 304342"/>
                <a:gd name="connsiteX28" fmla="*/ 258433 w 304407"/>
                <a:gd name="connsiteY28" fmla="*/ 242449 h 304342"/>
                <a:gd name="connsiteX29" fmla="*/ 258594 w 304407"/>
                <a:gd name="connsiteY29" fmla="*/ 242030 h 304342"/>
                <a:gd name="connsiteX30" fmla="*/ 259158 w 304407"/>
                <a:gd name="connsiteY30" fmla="*/ 240387 h 304342"/>
                <a:gd name="connsiteX31" fmla="*/ 259029 w 304407"/>
                <a:gd name="connsiteY31" fmla="*/ 240789 h 304342"/>
                <a:gd name="connsiteX32" fmla="*/ 259158 w 304407"/>
                <a:gd name="connsiteY32" fmla="*/ 240387 h 30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407" h="304342">
                  <a:moveTo>
                    <a:pt x="297667" y="77486"/>
                  </a:moveTo>
                  <a:cubicBezTo>
                    <a:pt x="294606" y="66610"/>
                    <a:pt x="290497" y="55992"/>
                    <a:pt x="285309" y="45760"/>
                  </a:cubicBezTo>
                  <a:cubicBezTo>
                    <a:pt x="280443" y="36093"/>
                    <a:pt x="274642" y="26779"/>
                    <a:pt x="267875" y="17966"/>
                  </a:cubicBezTo>
                  <a:cubicBezTo>
                    <a:pt x="263122" y="11714"/>
                    <a:pt x="257869" y="5704"/>
                    <a:pt x="252165" y="0"/>
                  </a:cubicBezTo>
                  <a:cubicBezTo>
                    <a:pt x="272725" y="20560"/>
                    <a:pt x="256612" y="71766"/>
                    <a:pt x="216153" y="126099"/>
                  </a:cubicBezTo>
                  <a:cubicBezTo>
                    <a:pt x="204229" y="142131"/>
                    <a:pt x="190147" y="158437"/>
                    <a:pt x="174292" y="174292"/>
                  </a:cubicBezTo>
                  <a:cubicBezTo>
                    <a:pt x="158437" y="190147"/>
                    <a:pt x="142131" y="204229"/>
                    <a:pt x="126099" y="216153"/>
                  </a:cubicBezTo>
                  <a:cubicBezTo>
                    <a:pt x="71766" y="256628"/>
                    <a:pt x="20560" y="272741"/>
                    <a:pt x="0" y="252165"/>
                  </a:cubicBezTo>
                  <a:cubicBezTo>
                    <a:pt x="31807" y="283972"/>
                    <a:pt x="94646" y="275142"/>
                    <a:pt x="154087" y="235021"/>
                  </a:cubicBezTo>
                  <a:cubicBezTo>
                    <a:pt x="169265" y="224789"/>
                    <a:pt x="184217" y="212511"/>
                    <a:pt x="198364" y="198348"/>
                  </a:cubicBezTo>
                  <a:cubicBezTo>
                    <a:pt x="212511" y="184185"/>
                    <a:pt x="224805" y="169249"/>
                    <a:pt x="235037" y="154070"/>
                  </a:cubicBezTo>
                  <a:cubicBezTo>
                    <a:pt x="238679" y="160080"/>
                    <a:pt x="241950" y="165978"/>
                    <a:pt x="244866" y="171730"/>
                  </a:cubicBezTo>
                  <a:cubicBezTo>
                    <a:pt x="235633" y="185635"/>
                    <a:pt x="224612" y="199170"/>
                    <a:pt x="211899" y="211867"/>
                  </a:cubicBezTo>
                  <a:cubicBezTo>
                    <a:pt x="199186" y="224564"/>
                    <a:pt x="185684" y="235585"/>
                    <a:pt x="171762" y="244818"/>
                  </a:cubicBezTo>
                  <a:cubicBezTo>
                    <a:pt x="117994" y="280588"/>
                    <a:pt x="58441" y="289869"/>
                    <a:pt x="17966" y="267859"/>
                  </a:cubicBezTo>
                  <a:lnTo>
                    <a:pt x="18224" y="268052"/>
                  </a:lnTo>
                  <a:cubicBezTo>
                    <a:pt x="37656" y="282876"/>
                    <a:pt x="61390" y="291190"/>
                    <a:pt x="85833" y="291673"/>
                  </a:cubicBezTo>
                  <a:cubicBezTo>
                    <a:pt x="122634" y="292399"/>
                    <a:pt x="162256" y="280137"/>
                    <a:pt x="197591" y="255694"/>
                  </a:cubicBezTo>
                  <a:cubicBezTo>
                    <a:pt x="208644" y="248056"/>
                    <a:pt x="219279" y="239226"/>
                    <a:pt x="229269" y="229236"/>
                  </a:cubicBezTo>
                  <a:cubicBezTo>
                    <a:pt x="239259" y="219247"/>
                    <a:pt x="248105" y="208596"/>
                    <a:pt x="255742" y="197543"/>
                  </a:cubicBezTo>
                  <a:cubicBezTo>
                    <a:pt x="258191" y="204971"/>
                    <a:pt x="259819" y="211931"/>
                    <a:pt x="260592" y="218376"/>
                  </a:cubicBezTo>
                  <a:cubicBezTo>
                    <a:pt x="255065" y="225659"/>
                    <a:pt x="248862" y="232797"/>
                    <a:pt x="242175" y="239468"/>
                  </a:cubicBezTo>
                  <a:cubicBezTo>
                    <a:pt x="235504" y="246139"/>
                    <a:pt x="228495" y="252246"/>
                    <a:pt x="221212" y="257772"/>
                  </a:cubicBezTo>
                  <a:cubicBezTo>
                    <a:pt x="177788" y="290755"/>
                    <a:pt x="125277" y="306352"/>
                    <a:pt x="77374" y="297587"/>
                  </a:cubicBezTo>
                  <a:cubicBezTo>
                    <a:pt x="137233" y="314538"/>
                    <a:pt x="204229" y="299585"/>
                    <a:pt x="251521" y="252761"/>
                  </a:cubicBezTo>
                  <a:cubicBezTo>
                    <a:pt x="251569" y="252713"/>
                    <a:pt x="252568" y="251955"/>
                    <a:pt x="253889" y="250344"/>
                  </a:cubicBezTo>
                  <a:cubicBezTo>
                    <a:pt x="299843" y="203150"/>
                    <a:pt x="314457" y="136797"/>
                    <a:pt x="297684" y="77438"/>
                  </a:cubicBezTo>
                  <a:close/>
                  <a:moveTo>
                    <a:pt x="258594" y="242030"/>
                  </a:moveTo>
                  <a:cubicBezTo>
                    <a:pt x="258546" y="242175"/>
                    <a:pt x="258497" y="242304"/>
                    <a:pt x="258433" y="242449"/>
                  </a:cubicBezTo>
                  <a:cubicBezTo>
                    <a:pt x="258481" y="242320"/>
                    <a:pt x="258530" y="242175"/>
                    <a:pt x="258594" y="242030"/>
                  </a:cubicBezTo>
                  <a:close/>
                  <a:moveTo>
                    <a:pt x="259158" y="240387"/>
                  </a:moveTo>
                  <a:cubicBezTo>
                    <a:pt x="259110" y="240515"/>
                    <a:pt x="259061" y="240644"/>
                    <a:pt x="259029" y="240789"/>
                  </a:cubicBezTo>
                  <a:cubicBezTo>
                    <a:pt x="259077" y="240660"/>
                    <a:pt x="259126" y="240532"/>
                    <a:pt x="259158" y="240387"/>
                  </a:cubicBezTo>
                  <a:close/>
                </a:path>
              </a:pathLst>
            </a:custGeom>
            <a:grpFill/>
            <a:ln w="1606"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93A8046-AAF8-3C30-AE22-B5589A02012C}"/>
                </a:ext>
              </a:extLst>
            </p:cNvPr>
            <p:cNvSpPr/>
            <p:nvPr/>
          </p:nvSpPr>
          <p:spPr>
            <a:xfrm>
              <a:off x="2534931" y="608113"/>
              <a:ext cx="84128" cy="183422"/>
            </a:xfrm>
            <a:custGeom>
              <a:avLst/>
              <a:gdLst>
                <a:gd name="connsiteX0" fmla="*/ 44878 w 84128"/>
                <a:gd name="connsiteY0" fmla="*/ 39471 h 183422"/>
                <a:gd name="connsiteX1" fmla="*/ 63166 w 84128"/>
                <a:gd name="connsiteY1" fmla="*/ 18525 h 183422"/>
                <a:gd name="connsiteX2" fmla="*/ 84129 w 84128"/>
                <a:gd name="connsiteY2" fmla="*/ 221 h 183422"/>
                <a:gd name="connsiteX3" fmla="*/ 52226 w 84128"/>
                <a:gd name="connsiteY3" fmla="*/ 8632 h 183422"/>
                <a:gd name="connsiteX4" fmla="*/ 6755 w 84128"/>
                <a:gd name="connsiteY4" fmla="*/ 183423 h 183422"/>
                <a:gd name="connsiteX5" fmla="*/ 44878 w 84128"/>
                <a:gd name="connsiteY5" fmla="*/ 39471 h 18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28" h="183422">
                  <a:moveTo>
                    <a:pt x="44878" y="39471"/>
                  </a:moveTo>
                  <a:cubicBezTo>
                    <a:pt x="50389" y="32205"/>
                    <a:pt x="56495" y="25179"/>
                    <a:pt x="63166" y="18525"/>
                  </a:cubicBezTo>
                  <a:cubicBezTo>
                    <a:pt x="69837" y="11870"/>
                    <a:pt x="76846" y="5747"/>
                    <a:pt x="84129" y="221"/>
                  </a:cubicBezTo>
                  <a:cubicBezTo>
                    <a:pt x="71126" y="-794"/>
                    <a:pt x="59219" y="1639"/>
                    <a:pt x="52226" y="8632"/>
                  </a:cubicBezTo>
                  <a:cubicBezTo>
                    <a:pt x="4902" y="55955"/>
                    <a:pt x="-10276" y="123290"/>
                    <a:pt x="6755" y="183423"/>
                  </a:cubicBezTo>
                  <a:cubicBezTo>
                    <a:pt x="69" y="135052"/>
                    <a:pt x="11879" y="82879"/>
                    <a:pt x="44878" y="39471"/>
                  </a:cubicBezTo>
                  <a:close/>
                </a:path>
              </a:pathLst>
            </a:custGeom>
            <a:grpFill/>
            <a:ln w="1606"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85F7CEA-BB9E-4104-5ECA-F4A1AC72958D}"/>
                </a:ext>
              </a:extLst>
            </p:cNvPr>
            <p:cNvSpPr/>
            <p:nvPr/>
          </p:nvSpPr>
          <p:spPr>
            <a:xfrm>
              <a:off x="2547583" y="613184"/>
              <a:ext cx="119992" cy="237776"/>
            </a:xfrm>
            <a:custGeom>
              <a:avLst/>
              <a:gdLst>
                <a:gd name="connsiteX0" fmla="*/ 46905 w 119992"/>
                <a:gd name="connsiteY0" fmla="*/ 83980 h 237776"/>
                <a:gd name="connsiteX1" fmla="*/ 79856 w 119992"/>
                <a:gd name="connsiteY1" fmla="*/ 43843 h 237776"/>
                <a:gd name="connsiteX2" fmla="*/ 119993 w 119992"/>
                <a:gd name="connsiteY2" fmla="*/ 10876 h 237776"/>
                <a:gd name="connsiteX3" fmla="*/ 94164 w 119992"/>
                <a:gd name="connsiteY3" fmla="*/ 0 h 237776"/>
                <a:gd name="connsiteX4" fmla="*/ 62470 w 119992"/>
                <a:gd name="connsiteY4" fmla="*/ 26473 h 237776"/>
                <a:gd name="connsiteX5" fmla="*/ 36013 w 119992"/>
                <a:gd name="connsiteY5" fmla="*/ 58151 h 237776"/>
                <a:gd name="connsiteX6" fmla="*/ 33 w 119992"/>
                <a:gd name="connsiteY6" fmla="*/ 170022 h 237776"/>
                <a:gd name="connsiteX7" fmla="*/ 23670 w 119992"/>
                <a:gd name="connsiteY7" fmla="*/ 237518 h 237776"/>
                <a:gd name="connsiteX8" fmla="*/ 23880 w 119992"/>
                <a:gd name="connsiteY8" fmla="*/ 237776 h 237776"/>
                <a:gd name="connsiteX9" fmla="*/ 46905 w 119992"/>
                <a:gd name="connsiteY9" fmla="*/ 83964 h 23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92" h="237776">
                  <a:moveTo>
                    <a:pt x="46905" y="83980"/>
                  </a:moveTo>
                  <a:cubicBezTo>
                    <a:pt x="56138" y="70074"/>
                    <a:pt x="67159" y="56556"/>
                    <a:pt x="79856" y="43843"/>
                  </a:cubicBezTo>
                  <a:cubicBezTo>
                    <a:pt x="92553" y="31146"/>
                    <a:pt x="106087" y="20125"/>
                    <a:pt x="119993" y="10876"/>
                  </a:cubicBezTo>
                  <a:cubicBezTo>
                    <a:pt x="110969" y="6316"/>
                    <a:pt x="102317" y="2675"/>
                    <a:pt x="94164" y="0"/>
                  </a:cubicBezTo>
                  <a:cubicBezTo>
                    <a:pt x="83111" y="7637"/>
                    <a:pt x="72476" y="16483"/>
                    <a:pt x="62470" y="26473"/>
                  </a:cubicBezTo>
                  <a:cubicBezTo>
                    <a:pt x="52464" y="36463"/>
                    <a:pt x="43650" y="47098"/>
                    <a:pt x="36013" y="58151"/>
                  </a:cubicBezTo>
                  <a:cubicBezTo>
                    <a:pt x="11554" y="93519"/>
                    <a:pt x="-724" y="133188"/>
                    <a:pt x="33" y="170022"/>
                  </a:cubicBezTo>
                  <a:cubicBezTo>
                    <a:pt x="533" y="194433"/>
                    <a:pt x="8831" y="218151"/>
                    <a:pt x="23670" y="237518"/>
                  </a:cubicBezTo>
                  <a:cubicBezTo>
                    <a:pt x="23735" y="237599"/>
                    <a:pt x="23799" y="237696"/>
                    <a:pt x="23880" y="237776"/>
                  </a:cubicBezTo>
                  <a:cubicBezTo>
                    <a:pt x="1838" y="197301"/>
                    <a:pt x="11135" y="137732"/>
                    <a:pt x="46905" y="83964"/>
                  </a:cubicBezTo>
                  <a:close/>
                </a:path>
              </a:pathLst>
            </a:custGeom>
            <a:grpFill/>
            <a:ln w="1606"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5366D50-8535-3253-00DE-4E00B3B21ECF}"/>
                </a:ext>
              </a:extLst>
            </p:cNvPr>
            <p:cNvSpPr/>
            <p:nvPr/>
          </p:nvSpPr>
          <p:spPr>
            <a:xfrm>
              <a:off x="2567900" y="633873"/>
              <a:ext cx="145371" cy="235037"/>
            </a:xfrm>
            <a:custGeom>
              <a:avLst/>
              <a:gdLst>
                <a:gd name="connsiteX0" fmla="*/ 55301 w 145371"/>
                <a:gd name="connsiteY0" fmla="*/ 108955 h 235037"/>
                <a:gd name="connsiteX1" fmla="*/ 97146 w 145371"/>
                <a:gd name="connsiteY1" fmla="*/ 60745 h 235037"/>
                <a:gd name="connsiteX2" fmla="*/ 145372 w 145371"/>
                <a:gd name="connsiteY2" fmla="*/ 18884 h 235037"/>
                <a:gd name="connsiteX3" fmla="*/ 117368 w 145371"/>
                <a:gd name="connsiteY3" fmla="*/ 0 h 235037"/>
                <a:gd name="connsiteX4" fmla="*/ 73074 w 145371"/>
                <a:gd name="connsiteY4" fmla="*/ 36673 h 235037"/>
                <a:gd name="connsiteX5" fmla="*/ 36401 w 145371"/>
                <a:gd name="connsiteY5" fmla="*/ 80967 h 235037"/>
                <a:gd name="connsiteX6" fmla="*/ 19257 w 145371"/>
                <a:gd name="connsiteY6" fmla="*/ 235037 h 235037"/>
                <a:gd name="connsiteX7" fmla="*/ 55301 w 145371"/>
                <a:gd name="connsiteY7" fmla="*/ 108971 h 2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71" h="235037">
                  <a:moveTo>
                    <a:pt x="55301" y="108955"/>
                  </a:moveTo>
                  <a:cubicBezTo>
                    <a:pt x="67225" y="92906"/>
                    <a:pt x="81291" y="76600"/>
                    <a:pt x="97146" y="60745"/>
                  </a:cubicBezTo>
                  <a:cubicBezTo>
                    <a:pt x="113017" y="44874"/>
                    <a:pt x="129323" y="30808"/>
                    <a:pt x="145372" y="18884"/>
                  </a:cubicBezTo>
                  <a:cubicBezTo>
                    <a:pt x="135897" y="11827"/>
                    <a:pt x="126520" y="5494"/>
                    <a:pt x="117368" y="0"/>
                  </a:cubicBezTo>
                  <a:cubicBezTo>
                    <a:pt x="102189" y="10232"/>
                    <a:pt x="87237" y="22510"/>
                    <a:pt x="73074" y="36673"/>
                  </a:cubicBezTo>
                  <a:cubicBezTo>
                    <a:pt x="58910" y="50836"/>
                    <a:pt x="46632" y="65788"/>
                    <a:pt x="36401" y="80967"/>
                  </a:cubicBezTo>
                  <a:cubicBezTo>
                    <a:pt x="-3688" y="140407"/>
                    <a:pt x="-12534" y="203230"/>
                    <a:pt x="19257" y="235037"/>
                  </a:cubicBezTo>
                  <a:cubicBezTo>
                    <a:pt x="-1303" y="214477"/>
                    <a:pt x="14810" y="163271"/>
                    <a:pt x="55301" y="108971"/>
                  </a:cubicBezTo>
                  <a:close/>
                </a:path>
              </a:pathLst>
            </a:custGeom>
            <a:grpFill/>
            <a:ln w="1606"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2228C92-5254-EAAA-EE06-50BCADDC6041}"/>
                </a:ext>
              </a:extLst>
            </p:cNvPr>
            <p:cNvSpPr/>
            <p:nvPr/>
          </p:nvSpPr>
          <p:spPr>
            <a:xfrm>
              <a:off x="2713287" y="608064"/>
              <a:ext cx="125486" cy="122888"/>
            </a:xfrm>
            <a:custGeom>
              <a:avLst/>
              <a:gdLst>
                <a:gd name="connsiteX0" fmla="*/ 80838 w 125486"/>
                <a:gd name="connsiteY0" fmla="*/ 122888 h 122888"/>
                <a:gd name="connsiteX1" fmla="*/ 124278 w 125486"/>
                <a:gd name="connsiteY1" fmla="*/ 40552 h 122888"/>
                <a:gd name="connsiteX2" fmla="*/ 96113 w 125486"/>
                <a:gd name="connsiteY2" fmla="*/ 93 h 122888"/>
                <a:gd name="connsiteX3" fmla="*/ 0 w 125486"/>
                <a:gd name="connsiteY3" fmla="*/ 44693 h 122888"/>
                <a:gd name="connsiteX4" fmla="*/ 80838 w 125486"/>
                <a:gd name="connsiteY4" fmla="*/ 122888 h 122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86" h="122888">
                  <a:moveTo>
                    <a:pt x="80838" y="122888"/>
                  </a:moveTo>
                  <a:cubicBezTo>
                    <a:pt x="105345" y="92242"/>
                    <a:pt x="119895" y="62723"/>
                    <a:pt x="124278" y="40552"/>
                  </a:cubicBezTo>
                  <a:cubicBezTo>
                    <a:pt x="126969" y="26888"/>
                    <a:pt x="127919" y="-1841"/>
                    <a:pt x="96113" y="93"/>
                  </a:cubicBezTo>
                  <a:cubicBezTo>
                    <a:pt x="71202" y="1608"/>
                    <a:pt x="36157" y="17785"/>
                    <a:pt x="0" y="44693"/>
                  </a:cubicBezTo>
                  <a:cubicBezTo>
                    <a:pt x="46937" y="79384"/>
                    <a:pt x="80838" y="122888"/>
                    <a:pt x="80838" y="122888"/>
                  </a:cubicBezTo>
                  <a:close/>
                </a:path>
              </a:pathLst>
            </a:custGeom>
            <a:grpFill/>
            <a:ln w="1606"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B718FA07-9A1A-C371-2255-45B8F6431796}"/>
                </a:ext>
              </a:extLst>
            </p:cNvPr>
            <p:cNvSpPr/>
            <p:nvPr/>
          </p:nvSpPr>
          <p:spPr>
            <a:xfrm>
              <a:off x="2942314" y="658283"/>
              <a:ext cx="200201" cy="208805"/>
            </a:xfrm>
            <a:custGeom>
              <a:avLst/>
              <a:gdLst>
                <a:gd name="connsiteX0" fmla="*/ 110211 w 200201"/>
                <a:gd name="connsiteY0" fmla="*/ 46872 h 208805"/>
                <a:gd name="connsiteX1" fmla="*/ 184846 w 200201"/>
                <a:gd name="connsiteY1" fmla="*/ 46099 h 208805"/>
                <a:gd name="connsiteX2" fmla="*/ 200201 w 200201"/>
                <a:gd name="connsiteY2" fmla="*/ 0 h 208805"/>
                <a:gd name="connsiteX3" fmla="*/ 108584 w 200201"/>
                <a:gd name="connsiteY3" fmla="*/ 145 h 208805"/>
                <a:gd name="connsiteX4" fmla="*/ 38236 w 200201"/>
                <a:gd name="connsiteY4" fmla="*/ 31098 h 208805"/>
                <a:gd name="connsiteX5" fmla="*/ 26651 w 200201"/>
                <a:gd name="connsiteY5" fmla="*/ 66449 h 208805"/>
                <a:gd name="connsiteX6" fmla="*/ 50449 w 200201"/>
                <a:gd name="connsiteY6" fmla="*/ 107198 h 208805"/>
                <a:gd name="connsiteX7" fmla="*/ 109954 w 200201"/>
                <a:gd name="connsiteY7" fmla="*/ 128225 h 208805"/>
                <a:gd name="connsiteX8" fmla="*/ 125035 w 200201"/>
                <a:gd name="connsiteY8" fmla="*/ 147190 h 208805"/>
                <a:gd name="connsiteX9" fmla="*/ 98336 w 200201"/>
                <a:gd name="connsiteY9" fmla="*/ 161933 h 208805"/>
                <a:gd name="connsiteX10" fmla="*/ 15613 w 200201"/>
                <a:gd name="connsiteY10" fmla="*/ 161933 h 208805"/>
                <a:gd name="connsiteX11" fmla="*/ 0 w 200201"/>
                <a:gd name="connsiteY11" fmla="*/ 208805 h 208805"/>
                <a:gd name="connsiteX12" fmla="*/ 101414 w 200201"/>
                <a:gd name="connsiteY12" fmla="*/ 208660 h 208805"/>
                <a:gd name="connsiteX13" fmla="*/ 172793 w 200201"/>
                <a:gd name="connsiteY13" fmla="*/ 175968 h 208805"/>
                <a:gd name="connsiteX14" fmla="*/ 183734 w 200201"/>
                <a:gd name="connsiteY14" fmla="*/ 138087 h 208805"/>
                <a:gd name="connsiteX15" fmla="*/ 144193 w 200201"/>
                <a:gd name="connsiteY15" fmla="*/ 88524 h 208805"/>
                <a:gd name="connsiteX16" fmla="*/ 98514 w 200201"/>
                <a:gd name="connsiteY16" fmla="*/ 76536 h 208805"/>
                <a:gd name="connsiteX17" fmla="*/ 85349 w 200201"/>
                <a:gd name="connsiteY17" fmla="*/ 59585 h 208805"/>
                <a:gd name="connsiteX18" fmla="*/ 110211 w 200201"/>
                <a:gd name="connsiteY18" fmla="*/ 46856 h 20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05">
                  <a:moveTo>
                    <a:pt x="110211" y="46872"/>
                  </a:moveTo>
                  <a:cubicBezTo>
                    <a:pt x="131786" y="46792"/>
                    <a:pt x="184846" y="46099"/>
                    <a:pt x="184846" y="46099"/>
                  </a:cubicBezTo>
                  <a:lnTo>
                    <a:pt x="200201" y="0"/>
                  </a:lnTo>
                  <a:lnTo>
                    <a:pt x="108584" y="145"/>
                  </a:lnTo>
                  <a:cubicBezTo>
                    <a:pt x="65933" y="145"/>
                    <a:pt x="45857" y="21108"/>
                    <a:pt x="38236" y="31098"/>
                  </a:cubicBezTo>
                  <a:cubicBezTo>
                    <a:pt x="30550" y="41168"/>
                    <a:pt x="26538" y="53059"/>
                    <a:pt x="26651" y="66449"/>
                  </a:cubicBezTo>
                  <a:cubicBezTo>
                    <a:pt x="26796" y="84866"/>
                    <a:pt x="36495" y="98626"/>
                    <a:pt x="50449" y="107198"/>
                  </a:cubicBezTo>
                  <a:cubicBezTo>
                    <a:pt x="61406" y="113933"/>
                    <a:pt x="98385" y="125035"/>
                    <a:pt x="109954" y="128225"/>
                  </a:cubicBezTo>
                  <a:cubicBezTo>
                    <a:pt x="122070" y="131706"/>
                    <a:pt x="126550" y="139214"/>
                    <a:pt x="125035" y="147190"/>
                  </a:cubicBezTo>
                  <a:cubicBezTo>
                    <a:pt x="123198" y="156842"/>
                    <a:pt x="113096" y="161933"/>
                    <a:pt x="98336" y="161933"/>
                  </a:cubicBezTo>
                  <a:lnTo>
                    <a:pt x="15613" y="161933"/>
                  </a:lnTo>
                  <a:lnTo>
                    <a:pt x="0" y="208805"/>
                  </a:lnTo>
                  <a:lnTo>
                    <a:pt x="101414" y="208660"/>
                  </a:lnTo>
                  <a:cubicBezTo>
                    <a:pt x="146481" y="208660"/>
                    <a:pt x="166091" y="186602"/>
                    <a:pt x="172793" y="175968"/>
                  </a:cubicBezTo>
                  <a:cubicBezTo>
                    <a:pt x="180157" y="164286"/>
                    <a:pt x="183734" y="151492"/>
                    <a:pt x="183734" y="138087"/>
                  </a:cubicBezTo>
                  <a:cubicBezTo>
                    <a:pt x="183734" y="115174"/>
                    <a:pt x="167976" y="95597"/>
                    <a:pt x="144193" y="88524"/>
                  </a:cubicBezTo>
                  <a:cubicBezTo>
                    <a:pt x="136314" y="86187"/>
                    <a:pt x="108503" y="79033"/>
                    <a:pt x="98514" y="76536"/>
                  </a:cubicBezTo>
                  <a:cubicBezTo>
                    <a:pt x="89442" y="74248"/>
                    <a:pt x="83883" y="67400"/>
                    <a:pt x="85349" y="59585"/>
                  </a:cubicBezTo>
                  <a:cubicBezTo>
                    <a:pt x="86945" y="51158"/>
                    <a:pt x="93873" y="46904"/>
                    <a:pt x="110211" y="46856"/>
                  </a:cubicBezTo>
                  <a:close/>
                </a:path>
              </a:pathLst>
            </a:custGeom>
            <a:grpFill/>
            <a:ln w="1606"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16B33CF-0B75-8FF3-321E-19D003F7C0B1}"/>
                </a:ext>
              </a:extLst>
            </p:cNvPr>
            <p:cNvSpPr/>
            <p:nvPr/>
          </p:nvSpPr>
          <p:spPr>
            <a:xfrm>
              <a:off x="3312135" y="658267"/>
              <a:ext cx="200201" cy="208821"/>
            </a:xfrm>
            <a:custGeom>
              <a:avLst/>
              <a:gdLst>
                <a:gd name="connsiteX0" fmla="*/ 38236 w 200201"/>
                <a:gd name="connsiteY0" fmla="*/ 31114 h 208821"/>
                <a:gd name="connsiteX1" fmla="*/ 26651 w 200201"/>
                <a:gd name="connsiteY1" fmla="*/ 66465 h 208821"/>
                <a:gd name="connsiteX2" fmla="*/ 50449 w 200201"/>
                <a:gd name="connsiteY2" fmla="*/ 107214 h 208821"/>
                <a:gd name="connsiteX3" fmla="*/ 109954 w 200201"/>
                <a:gd name="connsiteY3" fmla="*/ 128242 h 208821"/>
                <a:gd name="connsiteX4" fmla="*/ 125035 w 200201"/>
                <a:gd name="connsiteY4" fmla="*/ 147206 h 208821"/>
                <a:gd name="connsiteX5" fmla="*/ 98336 w 200201"/>
                <a:gd name="connsiteY5" fmla="*/ 161950 h 208821"/>
                <a:gd name="connsiteX6" fmla="*/ 15613 w 200201"/>
                <a:gd name="connsiteY6" fmla="*/ 161950 h 208821"/>
                <a:gd name="connsiteX7" fmla="*/ 0 w 200201"/>
                <a:gd name="connsiteY7" fmla="*/ 208822 h 208821"/>
                <a:gd name="connsiteX8" fmla="*/ 101414 w 200201"/>
                <a:gd name="connsiteY8" fmla="*/ 208677 h 208821"/>
                <a:gd name="connsiteX9" fmla="*/ 172793 w 200201"/>
                <a:gd name="connsiteY9" fmla="*/ 175984 h 208821"/>
                <a:gd name="connsiteX10" fmla="*/ 183734 w 200201"/>
                <a:gd name="connsiteY10" fmla="*/ 138103 h 208821"/>
                <a:gd name="connsiteX11" fmla="*/ 144193 w 200201"/>
                <a:gd name="connsiteY11" fmla="*/ 88540 h 208821"/>
                <a:gd name="connsiteX12" fmla="*/ 98514 w 200201"/>
                <a:gd name="connsiteY12" fmla="*/ 76552 h 208821"/>
                <a:gd name="connsiteX13" fmla="*/ 85349 w 200201"/>
                <a:gd name="connsiteY13" fmla="*/ 59601 h 208821"/>
                <a:gd name="connsiteX14" fmla="*/ 110211 w 200201"/>
                <a:gd name="connsiteY14" fmla="*/ 46872 h 208821"/>
                <a:gd name="connsiteX15" fmla="*/ 184846 w 200201"/>
                <a:gd name="connsiteY15" fmla="*/ 46099 h 208821"/>
                <a:gd name="connsiteX16" fmla="*/ 200201 w 200201"/>
                <a:gd name="connsiteY16" fmla="*/ 0 h 208821"/>
                <a:gd name="connsiteX17" fmla="*/ 108584 w 200201"/>
                <a:gd name="connsiteY17" fmla="*/ 145 h 208821"/>
                <a:gd name="connsiteX18" fmla="*/ 38236 w 200201"/>
                <a:gd name="connsiteY18" fmla="*/ 31098 h 2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201" h="208821">
                  <a:moveTo>
                    <a:pt x="38236" y="31114"/>
                  </a:moveTo>
                  <a:cubicBezTo>
                    <a:pt x="30550" y="41184"/>
                    <a:pt x="26538" y="53075"/>
                    <a:pt x="26651" y="66465"/>
                  </a:cubicBezTo>
                  <a:cubicBezTo>
                    <a:pt x="26796" y="84882"/>
                    <a:pt x="36495" y="98642"/>
                    <a:pt x="50449" y="107214"/>
                  </a:cubicBezTo>
                  <a:cubicBezTo>
                    <a:pt x="61406" y="113950"/>
                    <a:pt x="98385" y="125051"/>
                    <a:pt x="109954" y="128242"/>
                  </a:cubicBezTo>
                  <a:cubicBezTo>
                    <a:pt x="122070" y="131722"/>
                    <a:pt x="126550" y="139231"/>
                    <a:pt x="125035" y="147206"/>
                  </a:cubicBezTo>
                  <a:cubicBezTo>
                    <a:pt x="123198" y="156858"/>
                    <a:pt x="113096" y="161950"/>
                    <a:pt x="98336" y="161950"/>
                  </a:cubicBezTo>
                  <a:lnTo>
                    <a:pt x="15613" y="161950"/>
                  </a:lnTo>
                  <a:lnTo>
                    <a:pt x="0" y="208822"/>
                  </a:lnTo>
                  <a:lnTo>
                    <a:pt x="101414" y="208677"/>
                  </a:lnTo>
                  <a:cubicBezTo>
                    <a:pt x="146481" y="208677"/>
                    <a:pt x="166091" y="186618"/>
                    <a:pt x="172793" y="175984"/>
                  </a:cubicBezTo>
                  <a:cubicBezTo>
                    <a:pt x="180157" y="164302"/>
                    <a:pt x="183734" y="151508"/>
                    <a:pt x="183734" y="138103"/>
                  </a:cubicBezTo>
                  <a:cubicBezTo>
                    <a:pt x="183734" y="115190"/>
                    <a:pt x="167976" y="95613"/>
                    <a:pt x="144193" y="88540"/>
                  </a:cubicBezTo>
                  <a:cubicBezTo>
                    <a:pt x="136314" y="86203"/>
                    <a:pt x="108504" y="79049"/>
                    <a:pt x="98514" y="76552"/>
                  </a:cubicBezTo>
                  <a:cubicBezTo>
                    <a:pt x="89442" y="74264"/>
                    <a:pt x="83883" y="67416"/>
                    <a:pt x="85349" y="59601"/>
                  </a:cubicBezTo>
                  <a:cubicBezTo>
                    <a:pt x="86945" y="51174"/>
                    <a:pt x="93873" y="46920"/>
                    <a:pt x="110211" y="46872"/>
                  </a:cubicBezTo>
                  <a:cubicBezTo>
                    <a:pt x="131786" y="46791"/>
                    <a:pt x="184846" y="46099"/>
                    <a:pt x="184846" y="46099"/>
                  </a:cubicBezTo>
                  <a:lnTo>
                    <a:pt x="200201" y="0"/>
                  </a:lnTo>
                  <a:lnTo>
                    <a:pt x="108584" y="145"/>
                  </a:lnTo>
                  <a:cubicBezTo>
                    <a:pt x="65933" y="145"/>
                    <a:pt x="45857" y="21108"/>
                    <a:pt x="38236" y="31098"/>
                  </a:cubicBezTo>
                  <a:close/>
                </a:path>
              </a:pathLst>
            </a:custGeom>
            <a:grpFill/>
            <a:ln w="160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9F0C2AD-CEA6-7C47-E94D-5EF406984709}"/>
                </a:ext>
              </a:extLst>
            </p:cNvPr>
            <p:cNvSpPr/>
            <p:nvPr/>
          </p:nvSpPr>
          <p:spPr>
            <a:xfrm>
              <a:off x="3133291" y="653915"/>
              <a:ext cx="195752" cy="213189"/>
            </a:xfrm>
            <a:custGeom>
              <a:avLst/>
              <a:gdLst>
                <a:gd name="connsiteX0" fmla="*/ 113184 w 195752"/>
                <a:gd name="connsiteY0" fmla="*/ 166318 h 213189"/>
                <a:gd name="connsiteX1" fmla="*/ 62477 w 195752"/>
                <a:gd name="connsiteY1" fmla="*/ 144984 h 213189"/>
                <a:gd name="connsiteX2" fmla="*/ 102099 w 195752"/>
                <a:gd name="connsiteY2" fmla="*/ 139941 h 213189"/>
                <a:gd name="connsiteX3" fmla="*/ 172109 w 195752"/>
                <a:gd name="connsiteY3" fmla="*/ 109456 h 213189"/>
                <a:gd name="connsiteX4" fmla="*/ 187448 w 195752"/>
                <a:gd name="connsiteY4" fmla="*/ 29407 h 213189"/>
                <a:gd name="connsiteX5" fmla="*/ 122111 w 195752"/>
                <a:gd name="connsiteY5" fmla="*/ 2 h 213189"/>
                <a:gd name="connsiteX6" fmla="*/ 34925 w 195752"/>
                <a:gd name="connsiteY6" fmla="*/ 33693 h 213189"/>
                <a:gd name="connsiteX7" fmla="*/ 8 w 195752"/>
                <a:gd name="connsiteY7" fmla="*/ 120477 h 213189"/>
                <a:gd name="connsiteX8" fmla="*/ 103275 w 195752"/>
                <a:gd name="connsiteY8" fmla="*/ 213190 h 213189"/>
                <a:gd name="connsiteX9" fmla="*/ 163762 w 195752"/>
                <a:gd name="connsiteY9" fmla="*/ 213190 h 213189"/>
                <a:gd name="connsiteX10" fmla="*/ 179376 w 195752"/>
                <a:gd name="connsiteY10" fmla="*/ 166334 h 213189"/>
                <a:gd name="connsiteX11" fmla="*/ 113184 w 195752"/>
                <a:gd name="connsiteY11" fmla="*/ 166334 h 213189"/>
                <a:gd name="connsiteX12" fmla="*/ 78639 w 195752"/>
                <a:gd name="connsiteY12" fmla="*/ 62423 h 213189"/>
                <a:gd name="connsiteX13" fmla="*/ 132117 w 195752"/>
                <a:gd name="connsiteY13" fmla="*/ 53303 h 213189"/>
                <a:gd name="connsiteX14" fmla="*/ 134775 w 195752"/>
                <a:gd name="connsiteY14" fmla="*/ 76586 h 213189"/>
                <a:gd name="connsiteX15" fmla="*/ 77736 w 195752"/>
                <a:gd name="connsiteY15" fmla="*/ 103252 h 213189"/>
                <a:gd name="connsiteX16" fmla="*/ 57176 w 195752"/>
                <a:gd name="connsiteY16" fmla="*/ 106185 h 213189"/>
                <a:gd name="connsiteX17" fmla="*/ 78639 w 195752"/>
                <a:gd name="connsiteY17" fmla="*/ 62423 h 2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752" h="213189">
                  <a:moveTo>
                    <a:pt x="113184" y="166318"/>
                  </a:moveTo>
                  <a:cubicBezTo>
                    <a:pt x="88838" y="165979"/>
                    <a:pt x="67327" y="155361"/>
                    <a:pt x="62477" y="144984"/>
                  </a:cubicBezTo>
                  <a:cubicBezTo>
                    <a:pt x="62477" y="144984"/>
                    <a:pt x="86534" y="142841"/>
                    <a:pt x="102099" y="139941"/>
                  </a:cubicBezTo>
                  <a:cubicBezTo>
                    <a:pt x="140963" y="132706"/>
                    <a:pt x="158993" y="120332"/>
                    <a:pt x="172109" y="109456"/>
                  </a:cubicBezTo>
                  <a:cubicBezTo>
                    <a:pt x="193523" y="91699"/>
                    <a:pt x="204367" y="56284"/>
                    <a:pt x="187448" y="29407"/>
                  </a:cubicBezTo>
                  <a:cubicBezTo>
                    <a:pt x="177974" y="14374"/>
                    <a:pt x="160926" y="195"/>
                    <a:pt x="122111" y="2"/>
                  </a:cubicBezTo>
                  <a:cubicBezTo>
                    <a:pt x="85760" y="-176"/>
                    <a:pt x="55452" y="13746"/>
                    <a:pt x="34925" y="33693"/>
                  </a:cubicBezTo>
                  <a:cubicBezTo>
                    <a:pt x="14171" y="53867"/>
                    <a:pt x="-395" y="84771"/>
                    <a:pt x="8" y="120477"/>
                  </a:cubicBezTo>
                  <a:cubicBezTo>
                    <a:pt x="701" y="182350"/>
                    <a:pt x="36858" y="209468"/>
                    <a:pt x="103275" y="213190"/>
                  </a:cubicBezTo>
                  <a:lnTo>
                    <a:pt x="163762" y="213190"/>
                  </a:lnTo>
                  <a:lnTo>
                    <a:pt x="179376" y="166334"/>
                  </a:lnTo>
                  <a:lnTo>
                    <a:pt x="113184" y="166334"/>
                  </a:lnTo>
                  <a:close/>
                  <a:moveTo>
                    <a:pt x="78639" y="62423"/>
                  </a:moveTo>
                  <a:cubicBezTo>
                    <a:pt x="97474" y="44489"/>
                    <a:pt x="122530" y="45134"/>
                    <a:pt x="132117" y="53303"/>
                  </a:cubicBezTo>
                  <a:cubicBezTo>
                    <a:pt x="138111" y="58394"/>
                    <a:pt x="140093" y="67901"/>
                    <a:pt x="134775" y="76586"/>
                  </a:cubicBezTo>
                  <a:cubicBezTo>
                    <a:pt x="124544" y="93295"/>
                    <a:pt x="89515" y="100852"/>
                    <a:pt x="77736" y="103252"/>
                  </a:cubicBezTo>
                  <a:cubicBezTo>
                    <a:pt x="64894" y="105879"/>
                    <a:pt x="57176" y="106185"/>
                    <a:pt x="57176" y="106185"/>
                  </a:cubicBezTo>
                  <a:cubicBezTo>
                    <a:pt x="57176" y="106185"/>
                    <a:pt x="55517" y="84433"/>
                    <a:pt x="78639" y="62423"/>
                  </a:cubicBezTo>
                  <a:close/>
                </a:path>
              </a:pathLst>
            </a:custGeom>
            <a:grpFill/>
            <a:ln w="160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C3B50B20-1072-4E59-C058-22CF15204A89}"/>
                </a:ext>
              </a:extLst>
            </p:cNvPr>
            <p:cNvSpPr/>
            <p:nvPr/>
          </p:nvSpPr>
          <p:spPr>
            <a:xfrm>
              <a:off x="3555728" y="658267"/>
              <a:ext cx="67738" cy="91730"/>
            </a:xfrm>
            <a:custGeom>
              <a:avLst/>
              <a:gdLst>
                <a:gd name="connsiteX0" fmla="*/ 50675 w 67738"/>
                <a:gd name="connsiteY0" fmla="*/ 77583 h 91730"/>
                <a:gd name="connsiteX1" fmla="*/ 34369 w 67738"/>
                <a:gd name="connsiteY1" fmla="*/ 81579 h 91730"/>
                <a:gd name="connsiteX2" fmla="*/ 22896 w 67738"/>
                <a:gd name="connsiteY2" fmla="*/ 80499 h 91730"/>
                <a:gd name="connsiteX3" fmla="*/ 13067 w 67738"/>
                <a:gd name="connsiteY3" fmla="*/ 77196 h 91730"/>
                <a:gd name="connsiteX4" fmla="*/ 4060 w 67738"/>
                <a:gd name="connsiteY4" fmla="*/ 71686 h 91730"/>
                <a:gd name="connsiteX5" fmla="*/ 0 w 67738"/>
                <a:gd name="connsiteY5" fmla="*/ 81080 h 91730"/>
                <a:gd name="connsiteX6" fmla="*/ 14969 w 67738"/>
                <a:gd name="connsiteY6" fmla="*/ 88943 h 91730"/>
                <a:gd name="connsiteX7" fmla="*/ 34369 w 67738"/>
                <a:gd name="connsiteY7" fmla="*/ 91730 h 91730"/>
                <a:gd name="connsiteX8" fmla="*/ 52125 w 67738"/>
                <a:gd name="connsiteY8" fmla="*/ 88556 h 91730"/>
                <a:gd name="connsiteX9" fmla="*/ 63678 w 67738"/>
                <a:gd name="connsiteY9" fmla="*/ 79613 h 91730"/>
                <a:gd name="connsiteX10" fmla="*/ 67738 w 67738"/>
                <a:gd name="connsiteY10" fmla="*/ 66224 h 91730"/>
                <a:gd name="connsiteX11" fmla="*/ 61712 w 67738"/>
                <a:gd name="connsiteY11" fmla="*/ 51126 h 91730"/>
                <a:gd name="connsiteX12" fmla="*/ 42747 w 67738"/>
                <a:gd name="connsiteY12" fmla="*/ 43134 h 91730"/>
                <a:gd name="connsiteX13" fmla="*/ 29180 w 67738"/>
                <a:gd name="connsiteY13" fmla="*/ 40475 h 91730"/>
                <a:gd name="connsiteX14" fmla="*/ 16999 w 67738"/>
                <a:gd name="connsiteY14" fmla="*/ 35335 h 91730"/>
                <a:gd name="connsiteX15" fmla="*/ 13325 w 67738"/>
                <a:gd name="connsiteY15" fmla="*/ 26135 h 91730"/>
                <a:gd name="connsiteX16" fmla="*/ 19158 w 67738"/>
                <a:gd name="connsiteY16" fmla="*/ 14469 h 91730"/>
                <a:gd name="connsiteX17" fmla="*/ 35013 w 67738"/>
                <a:gd name="connsiteY17" fmla="*/ 10151 h 91730"/>
                <a:gd name="connsiteX18" fmla="*/ 49789 w 67738"/>
                <a:gd name="connsiteY18" fmla="*/ 12504 h 91730"/>
                <a:gd name="connsiteX19" fmla="*/ 62034 w 67738"/>
                <a:gd name="connsiteY19" fmla="*/ 20044 h 91730"/>
                <a:gd name="connsiteX20" fmla="*/ 66095 w 67738"/>
                <a:gd name="connsiteY20" fmla="*/ 11037 h 91730"/>
                <a:gd name="connsiteX21" fmla="*/ 52657 w 67738"/>
                <a:gd name="connsiteY21" fmla="*/ 2788 h 91730"/>
                <a:gd name="connsiteX22" fmla="*/ 35271 w 67738"/>
                <a:gd name="connsiteY22" fmla="*/ 0 h 91730"/>
                <a:gd name="connsiteX23" fmla="*/ 17579 w 67738"/>
                <a:gd name="connsiteY23" fmla="*/ 3303 h 91730"/>
                <a:gd name="connsiteX24" fmla="*/ 5785 w 67738"/>
                <a:gd name="connsiteY24" fmla="*/ 12632 h 91730"/>
                <a:gd name="connsiteX25" fmla="*/ 1531 w 67738"/>
                <a:gd name="connsiteY25" fmla="*/ 26651 h 91730"/>
                <a:gd name="connsiteX26" fmla="*/ 7557 w 67738"/>
                <a:gd name="connsiteY26" fmla="*/ 42312 h 91730"/>
                <a:gd name="connsiteX27" fmla="*/ 25893 w 67738"/>
                <a:gd name="connsiteY27" fmla="*/ 50626 h 91730"/>
                <a:gd name="connsiteX28" fmla="*/ 39460 w 67738"/>
                <a:gd name="connsiteY28" fmla="*/ 53414 h 91730"/>
                <a:gd name="connsiteX29" fmla="*/ 52270 w 67738"/>
                <a:gd name="connsiteY29" fmla="*/ 58232 h 91730"/>
                <a:gd name="connsiteX30" fmla="*/ 55944 w 67738"/>
                <a:gd name="connsiteY30" fmla="*/ 66981 h 91730"/>
                <a:gd name="connsiteX31" fmla="*/ 50675 w 67738"/>
                <a:gd name="connsiteY31" fmla="*/ 77567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738" h="91730">
                  <a:moveTo>
                    <a:pt x="50675" y="77583"/>
                  </a:moveTo>
                  <a:cubicBezTo>
                    <a:pt x="47162" y="80242"/>
                    <a:pt x="41732" y="81579"/>
                    <a:pt x="34369" y="81579"/>
                  </a:cubicBezTo>
                  <a:cubicBezTo>
                    <a:pt x="30228" y="81579"/>
                    <a:pt x="26393" y="81225"/>
                    <a:pt x="22896" y="80499"/>
                  </a:cubicBezTo>
                  <a:cubicBezTo>
                    <a:pt x="19384" y="79774"/>
                    <a:pt x="16113" y="78679"/>
                    <a:pt x="13067" y="77196"/>
                  </a:cubicBezTo>
                  <a:cubicBezTo>
                    <a:pt x="10022" y="75714"/>
                    <a:pt x="7025" y="73877"/>
                    <a:pt x="4060" y="71686"/>
                  </a:cubicBezTo>
                  <a:lnTo>
                    <a:pt x="0" y="81080"/>
                  </a:lnTo>
                  <a:cubicBezTo>
                    <a:pt x="4222" y="84463"/>
                    <a:pt x="9217" y="87090"/>
                    <a:pt x="14969" y="88943"/>
                  </a:cubicBezTo>
                  <a:cubicBezTo>
                    <a:pt x="20721" y="90796"/>
                    <a:pt x="27182" y="91730"/>
                    <a:pt x="34369" y="91730"/>
                  </a:cubicBezTo>
                  <a:cubicBezTo>
                    <a:pt x="41555" y="91730"/>
                    <a:pt x="47130" y="90667"/>
                    <a:pt x="52125" y="88556"/>
                  </a:cubicBezTo>
                  <a:cubicBezTo>
                    <a:pt x="57120" y="86445"/>
                    <a:pt x="60955" y="83464"/>
                    <a:pt x="63678" y="79613"/>
                  </a:cubicBezTo>
                  <a:cubicBezTo>
                    <a:pt x="66385" y="75762"/>
                    <a:pt x="67738" y="71299"/>
                    <a:pt x="67738" y="66224"/>
                  </a:cubicBezTo>
                  <a:cubicBezTo>
                    <a:pt x="67738" y="59795"/>
                    <a:pt x="65724" y="54767"/>
                    <a:pt x="61712" y="51126"/>
                  </a:cubicBezTo>
                  <a:cubicBezTo>
                    <a:pt x="57700" y="47484"/>
                    <a:pt x="51368" y="44826"/>
                    <a:pt x="42747" y="43134"/>
                  </a:cubicBezTo>
                  <a:lnTo>
                    <a:pt x="29180" y="40475"/>
                  </a:lnTo>
                  <a:cubicBezTo>
                    <a:pt x="23509" y="39299"/>
                    <a:pt x="19448" y="37575"/>
                    <a:pt x="16999" y="35335"/>
                  </a:cubicBezTo>
                  <a:cubicBezTo>
                    <a:pt x="14550" y="33096"/>
                    <a:pt x="13325" y="30034"/>
                    <a:pt x="13325" y="26135"/>
                  </a:cubicBezTo>
                  <a:cubicBezTo>
                    <a:pt x="13325" y="21237"/>
                    <a:pt x="15275" y="17337"/>
                    <a:pt x="19158" y="14469"/>
                  </a:cubicBezTo>
                  <a:cubicBezTo>
                    <a:pt x="23041" y="11601"/>
                    <a:pt x="28326" y="10151"/>
                    <a:pt x="35013" y="10151"/>
                  </a:cubicBezTo>
                  <a:cubicBezTo>
                    <a:pt x="40508" y="10151"/>
                    <a:pt x="45438" y="10941"/>
                    <a:pt x="49789" y="12504"/>
                  </a:cubicBezTo>
                  <a:cubicBezTo>
                    <a:pt x="54139" y="14066"/>
                    <a:pt x="58232" y="16580"/>
                    <a:pt x="62034" y="20044"/>
                  </a:cubicBezTo>
                  <a:lnTo>
                    <a:pt x="66095" y="11037"/>
                  </a:lnTo>
                  <a:cubicBezTo>
                    <a:pt x="62453" y="7396"/>
                    <a:pt x="57974" y="4657"/>
                    <a:pt x="52657" y="2788"/>
                  </a:cubicBezTo>
                  <a:cubicBezTo>
                    <a:pt x="47323" y="935"/>
                    <a:pt x="41539" y="0"/>
                    <a:pt x="35271" y="0"/>
                  </a:cubicBezTo>
                  <a:cubicBezTo>
                    <a:pt x="28504" y="0"/>
                    <a:pt x="22606" y="1096"/>
                    <a:pt x="17579" y="3303"/>
                  </a:cubicBezTo>
                  <a:cubicBezTo>
                    <a:pt x="12552" y="5511"/>
                    <a:pt x="8620" y="8604"/>
                    <a:pt x="5785" y="12632"/>
                  </a:cubicBezTo>
                  <a:cubicBezTo>
                    <a:pt x="2949" y="16645"/>
                    <a:pt x="1531" y="21317"/>
                    <a:pt x="1531" y="26651"/>
                  </a:cubicBezTo>
                  <a:cubicBezTo>
                    <a:pt x="1531" y="33241"/>
                    <a:pt x="3545" y="38477"/>
                    <a:pt x="7557" y="42312"/>
                  </a:cubicBezTo>
                  <a:cubicBezTo>
                    <a:pt x="11569" y="46163"/>
                    <a:pt x="17676" y="48934"/>
                    <a:pt x="25893" y="50626"/>
                  </a:cubicBezTo>
                  <a:lnTo>
                    <a:pt x="39460" y="53414"/>
                  </a:lnTo>
                  <a:cubicBezTo>
                    <a:pt x="45551" y="54606"/>
                    <a:pt x="49821" y="56201"/>
                    <a:pt x="52270" y="58232"/>
                  </a:cubicBezTo>
                  <a:cubicBezTo>
                    <a:pt x="54719" y="60262"/>
                    <a:pt x="55944" y="63178"/>
                    <a:pt x="55944" y="66981"/>
                  </a:cubicBezTo>
                  <a:cubicBezTo>
                    <a:pt x="55944" y="71380"/>
                    <a:pt x="54187" y="74908"/>
                    <a:pt x="50675" y="77567"/>
                  </a:cubicBezTo>
                  <a:close/>
                </a:path>
              </a:pathLst>
            </a:custGeom>
            <a:grpFill/>
            <a:ln w="160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6787206-6AFA-2F17-005A-CCF4A285EC96}"/>
                </a:ext>
              </a:extLst>
            </p:cNvPr>
            <p:cNvSpPr/>
            <p:nvPr/>
          </p:nvSpPr>
          <p:spPr>
            <a:xfrm>
              <a:off x="3636646" y="683919"/>
              <a:ext cx="62275" cy="92358"/>
            </a:xfrm>
            <a:custGeom>
              <a:avLst/>
              <a:gdLst>
                <a:gd name="connsiteX0" fmla="*/ 12568 w 62275"/>
                <a:gd name="connsiteY0" fmla="*/ 92342 h 92358"/>
                <a:gd name="connsiteX1" fmla="*/ 12568 w 62275"/>
                <a:gd name="connsiteY1" fmla="*/ 53913 h 92358"/>
                <a:gd name="connsiteX2" fmla="*/ 19480 w 62275"/>
                <a:gd name="connsiteY2" fmla="*/ 61841 h 92358"/>
                <a:gd name="connsiteX3" fmla="*/ 34127 w 62275"/>
                <a:gd name="connsiteY3" fmla="*/ 66095 h 92358"/>
                <a:gd name="connsiteX4" fmla="*/ 48967 w 62275"/>
                <a:gd name="connsiteY4" fmla="*/ 62163 h 92358"/>
                <a:gd name="connsiteX5" fmla="*/ 58796 w 62275"/>
                <a:gd name="connsiteY5" fmla="*/ 50739 h 92358"/>
                <a:gd name="connsiteX6" fmla="*/ 62276 w 62275"/>
                <a:gd name="connsiteY6" fmla="*/ 32983 h 92358"/>
                <a:gd name="connsiteX7" fmla="*/ 58796 w 62275"/>
                <a:gd name="connsiteY7" fmla="*/ 15291 h 92358"/>
                <a:gd name="connsiteX8" fmla="*/ 48967 w 62275"/>
                <a:gd name="connsiteY8" fmla="*/ 3932 h 92358"/>
                <a:gd name="connsiteX9" fmla="*/ 34127 w 62275"/>
                <a:gd name="connsiteY9" fmla="*/ 0 h 92358"/>
                <a:gd name="connsiteX10" fmla="*/ 19287 w 62275"/>
                <a:gd name="connsiteY10" fmla="*/ 4254 h 92358"/>
                <a:gd name="connsiteX11" fmla="*/ 12262 w 62275"/>
                <a:gd name="connsiteY11" fmla="*/ 12697 h 92358"/>
                <a:gd name="connsiteX12" fmla="*/ 11166 w 62275"/>
                <a:gd name="connsiteY12" fmla="*/ 1144 h 92358"/>
                <a:gd name="connsiteX13" fmla="*/ 0 w 62275"/>
                <a:gd name="connsiteY13" fmla="*/ 1144 h 92358"/>
                <a:gd name="connsiteX14" fmla="*/ 757 w 62275"/>
                <a:gd name="connsiteY14" fmla="*/ 8749 h 92358"/>
                <a:gd name="connsiteX15" fmla="*/ 1015 w 62275"/>
                <a:gd name="connsiteY15" fmla="*/ 16242 h 92358"/>
                <a:gd name="connsiteX16" fmla="*/ 1015 w 62275"/>
                <a:gd name="connsiteY16" fmla="*/ 92358 h 92358"/>
                <a:gd name="connsiteX17" fmla="*/ 12568 w 62275"/>
                <a:gd name="connsiteY17" fmla="*/ 92358 h 92358"/>
                <a:gd name="connsiteX18" fmla="*/ 17579 w 62275"/>
                <a:gd name="connsiteY18" fmla="*/ 15210 h 92358"/>
                <a:gd name="connsiteX19" fmla="*/ 31468 w 62275"/>
                <a:gd name="connsiteY19" fmla="*/ 9249 h 92358"/>
                <a:gd name="connsiteX20" fmla="*/ 45422 w 62275"/>
                <a:gd name="connsiteY20" fmla="*/ 15210 h 92358"/>
                <a:gd name="connsiteX21" fmla="*/ 50626 w 62275"/>
                <a:gd name="connsiteY21" fmla="*/ 32967 h 92358"/>
                <a:gd name="connsiteX22" fmla="*/ 45422 w 62275"/>
                <a:gd name="connsiteY22" fmla="*/ 50852 h 92358"/>
                <a:gd name="connsiteX23" fmla="*/ 31468 w 62275"/>
                <a:gd name="connsiteY23" fmla="*/ 56943 h 92358"/>
                <a:gd name="connsiteX24" fmla="*/ 17579 w 62275"/>
                <a:gd name="connsiteY24" fmla="*/ 50852 h 92358"/>
                <a:gd name="connsiteX25" fmla="*/ 12439 w 62275"/>
                <a:gd name="connsiteY25" fmla="*/ 32967 h 92358"/>
                <a:gd name="connsiteX26" fmla="*/ 17579 w 62275"/>
                <a:gd name="connsiteY26" fmla="*/ 15210 h 9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75" h="92358">
                  <a:moveTo>
                    <a:pt x="12568" y="92342"/>
                  </a:moveTo>
                  <a:lnTo>
                    <a:pt x="12568" y="53913"/>
                  </a:lnTo>
                  <a:cubicBezTo>
                    <a:pt x="14147" y="57104"/>
                    <a:pt x="16451" y="59746"/>
                    <a:pt x="19480" y="61841"/>
                  </a:cubicBezTo>
                  <a:cubicBezTo>
                    <a:pt x="23573" y="64677"/>
                    <a:pt x="28471" y="66095"/>
                    <a:pt x="34127" y="66095"/>
                  </a:cubicBezTo>
                  <a:cubicBezTo>
                    <a:pt x="39782" y="66095"/>
                    <a:pt x="44745" y="64789"/>
                    <a:pt x="48967" y="62163"/>
                  </a:cubicBezTo>
                  <a:cubicBezTo>
                    <a:pt x="53188" y="59537"/>
                    <a:pt x="56475" y="55734"/>
                    <a:pt x="58796" y="50739"/>
                  </a:cubicBezTo>
                  <a:cubicBezTo>
                    <a:pt x="61116" y="45744"/>
                    <a:pt x="62276" y="39831"/>
                    <a:pt x="62276" y="32983"/>
                  </a:cubicBezTo>
                  <a:cubicBezTo>
                    <a:pt x="62276" y="26135"/>
                    <a:pt x="61116" y="20238"/>
                    <a:pt x="58796" y="15291"/>
                  </a:cubicBezTo>
                  <a:cubicBezTo>
                    <a:pt x="56475" y="10344"/>
                    <a:pt x="53188" y="6558"/>
                    <a:pt x="48967" y="3932"/>
                  </a:cubicBezTo>
                  <a:cubicBezTo>
                    <a:pt x="44745" y="1305"/>
                    <a:pt x="39782" y="0"/>
                    <a:pt x="34127" y="0"/>
                  </a:cubicBezTo>
                  <a:cubicBezTo>
                    <a:pt x="28471" y="0"/>
                    <a:pt x="23428" y="1418"/>
                    <a:pt x="19287" y="4254"/>
                  </a:cubicBezTo>
                  <a:cubicBezTo>
                    <a:pt x="16081" y="6445"/>
                    <a:pt x="13744" y="9265"/>
                    <a:pt x="12262" y="12697"/>
                  </a:cubicBezTo>
                  <a:lnTo>
                    <a:pt x="11166" y="1144"/>
                  </a:lnTo>
                  <a:lnTo>
                    <a:pt x="0" y="1144"/>
                  </a:lnTo>
                  <a:cubicBezTo>
                    <a:pt x="338" y="3674"/>
                    <a:pt x="596" y="6220"/>
                    <a:pt x="757" y="8749"/>
                  </a:cubicBezTo>
                  <a:cubicBezTo>
                    <a:pt x="918" y="11279"/>
                    <a:pt x="1015" y="13776"/>
                    <a:pt x="1015" y="16242"/>
                  </a:cubicBezTo>
                  <a:lnTo>
                    <a:pt x="1015" y="92358"/>
                  </a:lnTo>
                  <a:lnTo>
                    <a:pt x="12568" y="92358"/>
                  </a:lnTo>
                  <a:close/>
                  <a:moveTo>
                    <a:pt x="17579" y="15210"/>
                  </a:moveTo>
                  <a:cubicBezTo>
                    <a:pt x="20995" y="11231"/>
                    <a:pt x="25635" y="9249"/>
                    <a:pt x="31468" y="9249"/>
                  </a:cubicBezTo>
                  <a:cubicBezTo>
                    <a:pt x="37301" y="9249"/>
                    <a:pt x="41958" y="11231"/>
                    <a:pt x="45422" y="15210"/>
                  </a:cubicBezTo>
                  <a:cubicBezTo>
                    <a:pt x="48886" y="19190"/>
                    <a:pt x="50626" y="25104"/>
                    <a:pt x="50626" y="32967"/>
                  </a:cubicBezTo>
                  <a:cubicBezTo>
                    <a:pt x="50626" y="40830"/>
                    <a:pt x="48886" y="46792"/>
                    <a:pt x="45422" y="50852"/>
                  </a:cubicBezTo>
                  <a:cubicBezTo>
                    <a:pt x="41958" y="54912"/>
                    <a:pt x="37301" y="56943"/>
                    <a:pt x="31468" y="56943"/>
                  </a:cubicBezTo>
                  <a:cubicBezTo>
                    <a:pt x="25635" y="56943"/>
                    <a:pt x="20995" y="54912"/>
                    <a:pt x="17579" y="50852"/>
                  </a:cubicBezTo>
                  <a:cubicBezTo>
                    <a:pt x="14147" y="46792"/>
                    <a:pt x="12439" y="40830"/>
                    <a:pt x="12439" y="32967"/>
                  </a:cubicBezTo>
                  <a:cubicBezTo>
                    <a:pt x="12439" y="25104"/>
                    <a:pt x="14147" y="19190"/>
                    <a:pt x="17579" y="15210"/>
                  </a:cubicBezTo>
                  <a:close/>
                </a:path>
              </a:pathLst>
            </a:custGeom>
            <a:grpFill/>
            <a:ln w="160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AF3779BF-F811-8691-641E-173B14E18D8E}"/>
                </a:ext>
              </a:extLst>
            </p:cNvPr>
            <p:cNvSpPr/>
            <p:nvPr/>
          </p:nvSpPr>
          <p:spPr>
            <a:xfrm>
              <a:off x="3709331" y="683903"/>
              <a:ext cx="62291" cy="66094"/>
            </a:xfrm>
            <a:custGeom>
              <a:avLst/>
              <a:gdLst>
                <a:gd name="connsiteX0" fmla="*/ 49740 w 62291"/>
                <a:gd name="connsiteY0" fmla="*/ 64951 h 66094"/>
                <a:gd name="connsiteX1" fmla="*/ 61277 w 62291"/>
                <a:gd name="connsiteY1" fmla="*/ 64951 h 66094"/>
                <a:gd name="connsiteX2" fmla="*/ 61277 w 62291"/>
                <a:gd name="connsiteY2" fmla="*/ 16242 h 66094"/>
                <a:gd name="connsiteX3" fmla="*/ 61599 w 62291"/>
                <a:gd name="connsiteY3" fmla="*/ 8749 h 66094"/>
                <a:gd name="connsiteX4" fmla="*/ 62292 w 62291"/>
                <a:gd name="connsiteY4" fmla="*/ 1144 h 66094"/>
                <a:gd name="connsiteX5" fmla="*/ 51126 w 62291"/>
                <a:gd name="connsiteY5" fmla="*/ 1144 h 66094"/>
                <a:gd name="connsiteX6" fmla="*/ 50046 w 62291"/>
                <a:gd name="connsiteY6" fmla="*/ 12552 h 66094"/>
                <a:gd name="connsiteX7" fmla="*/ 42941 w 62291"/>
                <a:gd name="connsiteY7" fmla="*/ 4254 h 66094"/>
                <a:gd name="connsiteX8" fmla="*/ 28165 w 62291"/>
                <a:gd name="connsiteY8" fmla="*/ 0 h 66094"/>
                <a:gd name="connsiteX9" fmla="*/ 13454 w 62291"/>
                <a:gd name="connsiteY9" fmla="*/ 3932 h 66094"/>
                <a:gd name="connsiteX10" fmla="*/ 3561 w 62291"/>
                <a:gd name="connsiteY10" fmla="*/ 15291 h 66094"/>
                <a:gd name="connsiteX11" fmla="*/ 0 w 62291"/>
                <a:gd name="connsiteY11" fmla="*/ 32983 h 66094"/>
                <a:gd name="connsiteX12" fmla="*/ 3561 w 62291"/>
                <a:gd name="connsiteY12" fmla="*/ 50739 h 66094"/>
                <a:gd name="connsiteX13" fmla="*/ 13454 w 62291"/>
                <a:gd name="connsiteY13" fmla="*/ 62163 h 66094"/>
                <a:gd name="connsiteX14" fmla="*/ 28165 w 62291"/>
                <a:gd name="connsiteY14" fmla="*/ 66095 h 66094"/>
                <a:gd name="connsiteX15" fmla="*/ 42812 w 62291"/>
                <a:gd name="connsiteY15" fmla="*/ 61841 h 66094"/>
                <a:gd name="connsiteX16" fmla="*/ 49724 w 62291"/>
                <a:gd name="connsiteY16" fmla="*/ 54010 h 66094"/>
                <a:gd name="connsiteX17" fmla="*/ 49724 w 62291"/>
                <a:gd name="connsiteY17" fmla="*/ 64951 h 66094"/>
                <a:gd name="connsiteX18" fmla="*/ 44665 w 62291"/>
                <a:gd name="connsiteY18" fmla="*/ 50868 h 66094"/>
                <a:gd name="connsiteX19" fmla="*/ 30840 w 62291"/>
                <a:gd name="connsiteY19" fmla="*/ 56959 h 66094"/>
                <a:gd name="connsiteX20" fmla="*/ 16886 w 62291"/>
                <a:gd name="connsiteY20" fmla="*/ 50868 h 66094"/>
                <a:gd name="connsiteX21" fmla="*/ 11682 w 62291"/>
                <a:gd name="connsiteY21" fmla="*/ 32983 h 66094"/>
                <a:gd name="connsiteX22" fmla="*/ 16951 w 62291"/>
                <a:gd name="connsiteY22" fmla="*/ 15227 h 66094"/>
                <a:gd name="connsiteX23" fmla="*/ 30840 w 62291"/>
                <a:gd name="connsiteY23" fmla="*/ 9265 h 66094"/>
                <a:gd name="connsiteX24" fmla="*/ 44665 w 62291"/>
                <a:gd name="connsiteY24" fmla="*/ 15227 h 66094"/>
                <a:gd name="connsiteX25" fmla="*/ 49869 w 62291"/>
                <a:gd name="connsiteY25" fmla="*/ 32983 h 66094"/>
                <a:gd name="connsiteX26" fmla="*/ 44665 w 62291"/>
                <a:gd name="connsiteY26" fmla="*/ 50868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291" h="66094">
                  <a:moveTo>
                    <a:pt x="49740" y="64951"/>
                  </a:moveTo>
                  <a:lnTo>
                    <a:pt x="61277" y="64951"/>
                  </a:lnTo>
                  <a:lnTo>
                    <a:pt x="61277" y="16242"/>
                  </a:lnTo>
                  <a:cubicBezTo>
                    <a:pt x="61277" y="13793"/>
                    <a:pt x="61374" y="11295"/>
                    <a:pt x="61599" y="8749"/>
                  </a:cubicBezTo>
                  <a:cubicBezTo>
                    <a:pt x="61809" y="6220"/>
                    <a:pt x="62050" y="3674"/>
                    <a:pt x="62292" y="1144"/>
                  </a:cubicBezTo>
                  <a:lnTo>
                    <a:pt x="51126" y="1144"/>
                  </a:lnTo>
                  <a:lnTo>
                    <a:pt x="50046" y="12552"/>
                  </a:lnTo>
                  <a:cubicBezTo>
                    <a:pt x="48499" y="9184"/>
                    <a:pt x="46147" y="6413"/>
                    <a:pt x="42941" y="4254"/>
                  </a:cubicBezTo>
                  <a:cubicBezTo>
                    <a:pt x="38751" y="1418"/>
                    <a:pt x="33821" y="0"/>
                    <a:pt x="28165" y="0"/>
                  </a:cubicBezTo>
                  <a:cubicBezTo>
                    <a:pt x="22510" y="0"/>
                    <a:pt x="17676" y="1305"/>
                    <a:pt x="13454" y="3932"/>
                  </a:cubicBezTo>
                  <a:cubicBezTo>
                    <a:pt x="9216" y="6558"/>
                    <a:pt x="5929" y="10344"/>
                    <a:pt x="3561" y="15291"/>
                  </a:cubicBezTo>
                  <a:cubicBezTo>
                    <a:pt x="1192" y="20238"/>
                    <a:pt x="0" y="26135"/>
                    <a:pt x="0" y="32983"/>
                  </a:cubicBezTo>
                  <a:cubicBezTo>
                    <a:pt x="0" y="39831"/>
                    <a:pt x="1176" y="45760"/>
                    <a:pt x="3561" y="50739"/>
                  </a:cubicBezTo>
                  <a:cubicBezTo>
                    <a:pt x="5929" y="55734"/>
                    <a:pt x="9233" y="59537"/>
                    <a:pt x="13454" y="62163"/>
                  </a:cubicBezTo>
                  <a:cubicBezTo>
                    <a:pt x="17676" y="64789"/>
                    <a:pt x="22590" y="66095"/>
                    <a:pt x="28165" y="66095"/>
                  </a:cubicBezTo>
                  <a:cubicBezTo>
                    <a:pt x="33740" y="66095"/>
                    <a:pt x="38622" y="64677"/>
                    <a:pt x="42812" y="61841"/>
                  </a:cubicBezTo>
                  <a:cubicBezTo>
                    <a:pt x="45873" y="59762"/>
                    <a:pt x="48177" y="57152"/>
                    <a:pt x="49724" y="54010"/>
                  </a:cubicBezTo>
                  <a:lnTo>
                    <a:pt x="49724" y="64951"/>
                  </a:lnTo>
                  <a:close/>
                  <a:moveTo>
                    <a:pt x="44665" y="50868"/>
                  </a:moveTo>
                  <a:cubicBezTo>
                    <a:pt x="41200" y="54928"/>
                    <a:pt x="36592" y="56959"/>
                    <a:pt x="30840" y="56959"/>
                  </a:cubicBezTo>
                  <a:cubicBezTo>
                    <a:pt x="25088" y="56959"/>
                    <a:pt x="20350" y="54928"/>
                    <a:pt x="16886" y="50868"/>
                  </a:cubicBezTo>
                  <a:cubicBezTo>
                    <a:pt x="13422" y="46808"/>
                    <a:pt x="11682" y="40846"/>
                    <a:pt x="11682" y="32983"/>
                  </a:cubicBezTo>
                  <a:cubicBezTo>
                    <a:pt x="11682" y="25120"/>
                    <a:pt x="13438" y="19206"/>
                    <a:pt x="16951" y="15227"/>
                  </a:cubicBezTo>
                  <a:cubicBezTo>
                    <a:pt x="20463" y="11247"/>
                    <a:pt x="25088" y="9265"/>
                    <a:pt x="30840" y="9265"/>
                  </a:cubicBezTo>
                  <a:cubicBezTo>
                    <a:pt x="36592" y="9265"/>
                    <a:pt x="41200" y="11247"/>
                    <a:pt x="44665" y="15227"/>
                  </a:cubicBezTo>
                  <a:cubicBezTo>
                    <a:pt x="48129" y="19206"/>
                    <a:pt x="49869" y="25120"/>
                    <a:pt x="49869" y="32983"/>
                  </a:cubicBezTo>
                  <a:cubicBezTo>
                    <a:pt x="49869" y="40846"/>
                    <a:pt x="48129" y="46808"/>
                    <a:pt x="44665" y="50868"/>
                  </a:cubicBezTo>
                  <a:close/>
                </a:path>
              </a:pathLst>
            </a:custGeom>
            <a:grpFill/>
            <a:ln w="160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307AB03-F310-0193-7B54-6D2CAC44C157}"/>
                </a:ext>
              </a:extLst>
            </p:cNvPr>
            <p:cNvSpPr/>
            <p:nvPr/>
          </p:nvSpPr>
          <p:spPr>
            <a:xfrm>
              <a:off x="3784803" y="683887"/>
              <a:ext cx="52785" cy="66078"/>
            </a:xfrm>
            <a:custGeom>
              <a:avLst/>
              <a:gdLst>
                <a:gd name="connsiteX0" fmla="*/ 52785 w 52785"/>
                <a:gd name="connsiteY0" fmla="*/ 57861 h 66078"/>
                <a:gd name="connsiteX1" fmla="*/ 48854 w 52785"/>
                <a:gd name="connsiteY1" fmla="*/ 49869 h 66078"/>
                <a:gd name="connsiteX2" fmla="*/ 40604 w 52785"/>
                <a:gd name="connsiteY2" fmla="*/ 55073 h 66078"/>
                <a:gd name="connsiteX3" fmla="*/ 31984 w 52785"/>
                <a:gd name="connsiteY3" fmla="*/ 56717 h 66078"/>
                <a:gd name="connsiteX4" fmla="*/ 17273 w 52785"/>
                <a:gd name="connsiteY4" fmla="*/ 50497 h 66078"/>
                <a:gd name="connsiteX5" fmla="*/ 11940 w 52785"/>
                <a:gd name="connsiteY5" fmla="*/ 32741 h 66078"/>
                <a:gd name="connsiteX6" fmla="*/ 17273 w 52785"/>
                <a:gd name="connsiteY6" fmla="*/ 15291 h 66078"/>
                <a:gd name="connsiteX7" fmla="*/ 31984 w 52785"/>
                <a:gd name="connsiteY7" fmla="*/ 9265 h 66078"/>
                <a:gd name="connsiteX8" fmla="*/ 40733 w 52785"/>
                <a:gd name="connsiteY8" fmla="*/ 10973 h 66078"/>
                <a:gd name="connsiteX9" fmla="*/ 48854 w 52785"/>
                <a:gd name="connsiteY9" fmla="*/ 16242 h 66078"/>
                <a:gd name="connsiteX10" fmla="*/ 52785 w 52785"/>
                <a:gd name="connsiteY10" fmla="*/ 8121 h 66078"/>
                <a:gd name="connsiteX11" fmla="*/ 43263 w 52785"/>
                <a:gd name="connsiteY11" fmla="*/ 2095 h 66078"/>
                <a:gd name="connsiteX12" fmla="*/ 31210 w 52785"/>
                <a:gd name="connsiteY12" fmla="*/ 0 h 66078"/>
                <a:gd name="connsiteX13" fmla="*/ 14840 w 52785"/>
                <a:gd name="connsiteY13" fmla="*/ 3867 h 66078"/>
                <a:gd name="connsiteX14" fmla="*/ 3932 w 52785"/>
                <a:gd name="connsiteY14" fmla="*/ 15033 h 66078"/>
                <a:gd name="connsiteX15" fmla="*/ 0 w 52785"/>
                <a:gd name="connsiteY15" fmla="*/ 32596 h 66078"/>
                <a:gd name="connsiteX16" fmla="*/ 3867 w 52785"/>
                <a:gd name="connsiteY16" fmla="*/ 50546 h 66078"/>
                <a:gd name="connsiteX17" fmla="*/ 14711 w 52785"/>
                <a:gd name="connsiteY17" fmla="*/ 62083 h 66078"/>
                <a:gd name="connsiteX18" fmla="*/ 31210 w 52785"/>
                <a:gd name="connsiteY18" fmla="*/ 66079 h 66078"/>
                <a:gd name="connsiteX19" fmla="*/ 43070 w 52785"/>
                <a:gd name="connsiteY19" fmla="*/ 63984 h 66078"/>
                <a:gd name="connsiteX20" fmla="*/ 52769 w 52785"/>
                <a:gd name="connsiteY20" fmla="*/ 57829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785" h="66078">
                  <a:moveTo>
                    <a:pt x="52785" y="57861"/>
                  </a:moveTo>
                  <a:lnTo>
                    <a:pt x="48854" y="49869"/>
                  </a:lnTo>
                  <a:cubicBezTo>
                    <a:pt x="46308" y="52238"/>
                    <a:pt x="43569" y="53978"/>
                    <a:pt x="40604" y="55073"/>
                  </a:cubicBezTo>
                  <a:cubicBezTo>
                    <a:pt x="37640" y="56169"/>
                    <a:pt x="34771" y="56717"/>
                    <a:pt x="31984" y="56717"/>
                  </a:cubicBezTo>
                  <a:cubicBezTo>
                    <a:pt x="25732" y="56717"/>
                    <a:pt x="20818" y="54638"/>
                    <a:pt x="17273" y="50497"/>
                  </a:cubicBezTo>
                  <a:cubicBezTo>
                    <a:pt x="13728" y="46356"/>
                    <a:pt x="11940" y="40427"/>
                    <a:pt x="11940" y="32741"/>
                  </a:cubicBezTo>
                  <a:cubicBezTo>
                    <a:pt x="11940" y="25055"/>
                    <a:pt x="13712" y="19319"/>
                    <a:pt x="17273" y="15291"/>
                  </a:cubicBezTo>
                  <a:cubicBezTo>
                    <a:pt x="20818" y="11279"/>
                    <a:pt x="25732" y="9265"/>
                    <a:pt x="31984" y="9265"/>
                  </a:cubicBezTo>
                  <a:cubicBezTo>
                    <a:pt x="34852" y="9265"/>
                    <a:pt x="37768" y="9829"/>
                    <a:pt x="40733" y="10973"/>
                  </a:cubicBezTo>
                  <a:cubicBezTo>
                    <a:pt x="43698" y="12117"/>
                    <a:pt x="46405" y="13873"/>
                    <a:pt x="48854" y="16242"/>
                  </a:cubicBezTo>
                  <a:lnTo>
                    <a:pt x="52785" y="8121"/>
                  </a:lnTo>
                  <a:cubicBezTo>
                    <a:pt x="50336" y="5494"/>
                    <a:pt x="47162" y="3496"/>
                    <a:pt x="43263" y="2095"/>
                  </a:cubicBezTo>
                  <a:cubicBezTo>
                    <a:pt x="39364" y="693"/>
                    <a:pt x="35351" y="0"/>
                    <a:pt x="31210" y="0"/>
                  </a:cubicBezTo>
                  <a:cubicBezTo>
                    <a:pt x="24943" y="0"/>
                    <a:pt x="19497" y="1289"/>
                    <a:pt x="14840" y="3867"/>
                  </a:cubicBezTo>
                  <a:cubicBezTo>
                    <a:pt x="10183" y="6445"/>
                    <a:pt x="6558" y="10167"/>
                    <a:pt x="3932" y="15033"/>
                  </a:cubicBezTo>
                  <a:cubicBezTo>
                    <a:pt x="1305" y="19899"/>
                    <a:pt x="0" y="25748"/>
                    <a:pt x="0" y="32596"/>
                  </a:cubicBezTo>
                  <a:cubicBezTo>
                    <a:pt x="0" y="39444"/>
                    <a:pt x="1289" y="45519"/>
                    <a:pt x="3867" y="50546"/>
                  </a:cubicBezTo>
                  <a:cubicBezTo>
                    <a:pt x="6445" y="55573"/>
                    <a:pt x="10054" y="59424"/>
                    <a:pt x="14711" y="62083"/>
                  </a:cubicBezTo>
                  <a:cubicBezTo>
                    <a:pt x="19368" y="64741"/>
                    <a:pt x="24862" y="66079"/>
                    <a:pt x="31210" y="66079"/>
                  </a:cubicBezTo>
                  <a:cubicBezTo>
                    <a:pt x="35190" y="66079"/>
                    <a:pt x="39138" y="65386"/>
                    <a:pt x="43070" y="63984"/>
                  </a:cubicBezTo>
                  <a:cubicBezTo>
                    <a:pt x="47001" y="62582"/>
                    <a:pt x="50240" y="60536"/>
                    <a:pt x="52769" y="57829"/>
                  </a:cubicBezTo>
                  <a:close/>
                </a:path>
              </a:pathLst>
            </a:custGeom>
            <a:grpFill/>
            <a:ln w="1606"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3E1A335-E118-EF12-892B-69D444B42FCC}"/>
                </a:ext>
              </a:extLst>
            </p:cNvPr>
            <p:cNvSpPr/>
            <p:nvPr/>
          </p:nvSpPr>
          <p:spPr>
            <a:xfrm>
              <a:off x="3845339" y="683919"/>
              <a:ext cx="57844" cy="66078"/>
            </a:xfrm>
            <a:custGeom>
              <a:avLst/>
              <a:gdLst>
                <a:gd name="connsiteX0" fmla="*/ 53140 w 57844"/>
                <a:gd name="connsiteY0" fmla="*/ 49837 h 66078"/>
                <a:gd name="connsiteX1" fmla="*/ 43633 w 57844"/>
                <a:gd name="connsiteY1" fmla="*/ 55299 h 66078"/>
                <a:gd name="connsiteX2" fmla="*/ 32983 w 57844"/>
                <a:gd name="connsiteY2" fmla="*/ 56943 h 66078"/>
                <a:gd name="connsiteX3" fmla="*/ 16935 w 57844"/>
                <a:gd name="connsiteY3" fmla="*/ 50981 h 66078"/>
                <a:gd name="connsiteX4" fmla="*/ 11198 w 57844"/>
                <a:gd name="connsiteY4" fmla="*/ 34369 h 66078"/>
                <a:gd name="connsiteX5" fmla="*/ 57845 w 57844"/>
                <a:gd name="connsiteY5" fmla="*/ 34369 h 66078"/>
                <a:gd name="connsiteX6" fmla="*/ 57845 w 57844"/>
                <a:gd name="connsiteY6" fmla="*/ 30566 h 66078"/>
                <a:gd name="connsiteX7" fmla="*/ 54671 w 57844"/>
                <a:gd name="connsiteY7" fmla="*/ 14324 h 66078"/>
                <a:gd name="connsiteX8" fmla="*/ 45406 w 57844"/>
                <a:gd name="connsiteY8" fmla="*/ 3738 h 66078"/>
                <a:gd name="connsiteX9" fmla="*/ 30566 w 57844"/>
                <a:gd name="connsiteY9" fmla="*/ 0 h 66078"/>
                <a:gd name="connsiteX10" fmla="*/ 14582 w 57844"/>
                <a:gd name="connsiteY10" fmla="*/ 4125 h 66078"/>
                <a:gd name="connsiteX11" fmla="*/ 3867 w 57844"/>
                <a:gd name="connsiteY11" fmla="*/ 15662 h 66078"/>
                <a:gd name="connsiteX12" fmla="*/ 0 w 57844"/>
                <a:gd name="connsiteY12" fmla="*/ 33225 h 66078"/>
                <a:gd name="connsiteX13" fmla="*/ 8814 w 57844"/>
                <a:gd name="connsiteY13" fmla="*/ 57329 h 66078"/>
                <a:gd name="connsiteX14" fmla="*/ 32854 w 57844"/>
                <a:gd name="connsiteY14" fmla="*/ 66078 h 66078"/>
                <a:gd name="connsiteX15" fmla="*/ 46244 w 57844"/>
                <a:gd name="connsiteY15" fmla="*/ 63919 h 66078"/>
                <a:gd name="connsiteX16" fmla="*/ 56959 w 57844"/>
                <a:gd name="connsiteY16" fmla="*/ 57829 h 66078"/>
                <a:gd name="connsiteX17" fmla="*/ 53156 w 57844"/>
                <a:gd name="connsiteY17" fmla="*/ 49837 h 66078"/>
                <a:gd name="connsiteX18" fmla="*/ 16226 w 57844"/>
                <a:gd name="connsiteY18" fmla="*/ 14775 h 66078"/>
                <a:gd name="connsiteX19" fmla="*/ 30566 w 57844"/>
                <a:gd name="connsiteY19" fmla="*/ 8363 h 66078"/>
                <a:gd name="connsiteX20" fmla="*/ 43440 w 57844"/>
                <a:gd name="connsiteY20" fmla="*/ 13825 h 66078"/>
                <a:gd name="connsiteX21" fmla="*/ 47774 w 57844"/>
                <a:gd name="connsiteY21" fmla="*/ 27521 h 66078"/>
                <a:gd name="connsiteX22" fmla="*/ 11424 w 57844"/>
                <a:gd name="connsiteY22" fmla="*/ 27521 h 66078"/>
                <a:gd name="connsiteX23" fmla="*/ 16226 w 57844"/>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44" h="66078">
                  <a:moveTo>
                    <a:pt x="53140" y="49837"/>
                  </a:moveTo>
                  <a:cubicBezTo>
                    <a:pt x="50095" y="52367"/>
                    <a:pt x="46920" y="54187"/>
                    <a:pt x="43633" y="55299"/>
                  </a:cubicBezTo>
                  <a:cubicBezTo>
                    <a:pt x="40330" y="56395"/>
                    <a:pt x="36786" y="56943"/>
                    <a:pt x="32983" y="56943"/>
                  </a:cubicBezTo>
                  <a:cubicBezTo>
                    <a:pt x="26135" y="56943"/>
                    <a:pt x="20786" y="54961"/>
                    <a:pt x="16935" y="50981"/>
                  </a:cubicBezTo>
                  <a:cubicBezTo>
                    <a:pt x="13261" y="47178"/>
                    <a:pt x="11359" y="41635"/>
                    <a:pt x="11198" y="34369"/>
                  </a:cubicBezTo>
                  <a:lnTo>
                    <a:pt x="57845" y="34369"/>
                  </a:lnTo>
                  <a:lnTo>
                    <a:pt x="57845" y="30566"/>
                  </a:lnTo>
                  <a:cubicBezTo>
                    <a:pt x="57845" y="24314"/>
                    <a:pt x="56781" y="18900"/>
                    <a:pt x="54671" y="14324"/>
                  </a:cubicBezTo>
                  <a:cubicBezTo>
                    <a:pt x="52560" y="9764"/>
                    <a:pt x="49466" y="6220"/>
                    <a:pt x="45406" y="3738"/>
                  </a:cubicBez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8"/>
                    <a:pt x="32854" y="66078"/>
                  </a:cubicBezTo>
                  <a:cubicBezTo>
                    <a:pt x="37511" y="66078"/>
                    <a:pt x="41958" y="65353"/>
                    <a:pt x="46244" y="63919"/>
                  </a:cubicBezTo>
                  <a:cubicBezTo>
                    <a:pt x="50514" y="62485"/>
                    <a:pt x="54091" y="60455"/>
                    <a:pt x="56959" y="57829"/>
                  </a:cubicBezTo>
                  <a:lnTo>
                    <a:pt x="53156" y="49837"/>
                  </a:ln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71070055-53F2-16FB-6D26-F05A5C353F4A}"/>
                </a:ext>
              </a:extLst>
            </p:cNvPr>
            <p:cNvSpPr/>
            <p:nvPr/>
          </p:nvSpPr>
          <p:spPr>
            <a:xfrm>
              <a:off x="3937939" y="658283"/>
              <a:ext cx="81305" cy="91713"/>
            </a:xfrm>
            <a:custGeom>
              <a:avLst/>
              <a:gdLst>
                <a:gd name="connsiteX0" fmla="*/ 46550 w 81305"/>
                <a:gd name="connsiteY0" fmla="*/ 88105 h 91713"/>
                <a:gd name="connsiteX1" fmla="*/ 58554 w 81305"/>
                <a:gd name="connsiteY1" fmla="*/ 79388 h 91713"/>
                <a:gd name="connsiteX2" fmla="*/ 65950 w 81305"/>
                <a:gd name="connsiteY2" fmla="*/ 85430 h 91713"/>
                <a:gd name="connsiteX3" fmla="*/ 76858 w 81305"/>
                <a:gd name="connsiteY3" fmla="*/ 91714 h 91713"/>
                <a:gd name="connsiteX4" fmla="*/ 81305 w 81305"/>
                <a:gd name="connsiteY4" fmla="*/ 83335 h 91713"/>
                <a:gd name="connsiteX5" fmla="*/ 71347 w 81305"/>
                <a:gd name="connsiteY5" fmla="*/ 77438 h 91713"/>
                <a:gd name="connsiteX6" fmla="*/ 64709 w 81305"/>
                <a:gd name="connsiteY6" fmla="*/ 71718 h 91713"/>
                <a:gd name="connsiteX7" fmla="*/ 70912 w 81305"/>
                <a:gd name="connsiteY7" fmla="*/ 57587 h 91713"/>
                <a:gd name="connsiteX8" fmla="*/ 73958 w 81305"/>
                <a:gd name="connsiteY8" fmla="*/ 37929 h 91713"/>
                <a:gd name="connsiteX9" fmla="*/ 63935 w 81305"/>
                <a:gd name="connsiteY9" fmla="*/ 37929 h 91713"/>
                <a:gd name="connsiteX10" fmla="*/ 61841 w 81305"/>
                <a:gd name="connsiteY10" fmla="*/ 53720 h 91713"/>
                <a:gd name="connsiteX11" fmla="*/ 57651 w 81305"/>
                <a:gd name="connsiteY11" fmla="*/ 64773 h 91713"/>
                <a:gd name="connsiteX12" fmla="*/ 36560 w 81305"/>
                <a:gd name="connsiteY12" fmla="*/ 42119 h 91713"/>
                <a:gd name="connsiteX13" fmla="*/ 46373 w 81305"/>
                <a:gd name="connsiteY13" fmla="*/ 34949 h 91713"/>
                <a:gd name="connsiteX14" fmla="*/ 52463 w 81305"/>
                <a:gd name="connsiteY14" fmla="*/ 27086 h 91713"/>
                <a:gd name="connsiteX15" fmla="*/ 54300 w 81305"/>
                <a:gd name="connsiteY15" fmla="*/ 18401 h 91713"/>
                <a:gd name="connsiteX16" fmla="*/ 48532 w 81305"/>
                <a:gd name="connsiteY16" fmla="*/ 4947 h 91713"/>
                <a:gd name="connsiteX17" fmla="*/ 33756 w 81305"/>
                <a:gd name="connsiteY17" fmla="*/ 0 h 91713"/>
                <a:gd name="connsiteX18" fmla="*/ 21575 w 81305"/>
                <a:gd name="connsiteY18" fmla="*/ 2530 h 91713"/>
                <a:gd name="connsiteX19" fmla="*/ 13519 w 81305"/>
                <a:gd name="connsiteY19" fmla="*/ 9507 h 91713"/>
                <a:gd name="connsiteX20" fmla="*/ 10667 w 81305"/>
                <a:gd name="connsiteY20" fmla="*/ 19915 h 91713"/>
                <a:gd name="connsiteX21" fmla="*/ 13390 w 81305"/>
                <a:gd name="connsiteY21" fmla="*/ 30373 h 91713"/>
                <a:gd name="connsiteX22" fmla="*/ 21333 w 81305"/>
                <a:gd name="connsiteY22" fmla="*/ 40814 h 91713"/>
                <a:gd name="connsiteX23" fmla="*/ 19416 w 81305"/>
                <a:gd name="connsiteY23" fmla="*/ 41974 h 91713"/>
                <a:gd name="connsiteX24" fmla="*/ 5075 w 81305"/>
                <a:gd name="connsiteY24" fmla="*/ 53962 h 91713"/>
                <a:gd name="connsiteX25" fmla="*/ 0 w 81305"/>
                <a:gd name="connsiteY25" fmla="*/ 68737 h 91713"/>
                <a:gd name="connsiteX26" fmla="*/ 3545 w 81305"/>
                <a:gd name="connsiteY26" fmla="*/ 80854 h 91713"/>
                <a:gd name="connsiteX27" fmla="*/ 13825 w 81305"/>
                <a:gd name="connsiteY27" fmla="*/ 88846 h 91713"/>
                <a:gd name="connsiteX28" fmla="*/ 29809 w 81305"/>
                <a:gd name="connsiteY28" fmla="*/ 91698 h 91713"/>
                <a:gd name="connsiteX29" fmla="*/ 46550 w 81305"/>
                <a:gd name="connsiteY29" fmla="*/ 88089 h 91713"/>
                <a:gd name="connsiteX30" fmla="*/ 24797 w 81305"/>
                <a:gd name="connsiteY30" fmla="*/ 11553 h 91713"/>
                <a:gd name="connsiteX31" fmla="*/ 33740 w 81305"/>
                <a:gd name="connsiteY31" fmla="*/ 8379 h 91713"/>
                <a:gd name="connsiteX32" fmla="*/ 41797 w 81305"/>
                <a:gd name="connsiteY32" fmla="*/ 11231 h 91713"/>
                <a:gd name="connsiteX33" fmla="*/ 44777 w 81305"/>
                <a:gd name="connsiteY33" fmla="*/ 19029 h 91713"/>
                <a:gd name="connsiteX34" fmla="*/ 40910 w 81305"/>
                <a:gd name="connsiteY34" fmla="*/ 28036 h 91713"/>
                <a:gd name="connsiteX35" fmla="*/ 30614 w 81305"/>
                <a:gd name="connsiteY35" fmla="*/ 35948 h 91713"/>
                <a:gd name="connsiteX36" fmla="*/ 25571 w 81305"/>
                <a:gd name="connsiteY36" fmla="*/ 30002 h 91713"/>
                <a:gd name="connsiteX37" fmla="*/ 22397 w 81305"/>
                <a:gd name="connsiteY37" fmla="*/ 24926 h 91713"/>
                <a:gd name="connsiteX38" fmla="*/ 21446 w 81305"/>
                <a:gd name="connsiteY38" fmla="*/ 19915 h 91713"/>
                <a:gd name="connsiteX39" fmla="*/ 24814 w 81305"/>
                <a:gd name="connsiteY39" fmla="*/ 11537 h 91713"/>
                <a:gd name="connsiteX40" fmla="*/ 11537 w 81305"/>
                <a:gd name="connsiteY40" fmla="*/ 68125 h 91713"/>
                <a:gd name="connsiteX41" fmla="*/ 13116 w 81305"/>
                <a:gd name="connsiteY41" fmla="*/ 60520 h 91713"/>
                <a:gd name="connsiteX42" fmla="*/ 17998 w 81305"/>
                <a:gd name="connsiteY42" fmla="*/ 54171 h 91713"/>
                <a:gd name="connsiteX43" fmla="*/ 26377 w 81305"/>
                <a:gd name="connsiteY43" fmla="*/ 47823 h 91713"/>
                <a:gd name="connsiteX44" fmla="*/ 27327 w 81305"/>
                <a:gd name="connsiteY44" fmla="*/ 47210 h 91713"/>
                <a:gd name="connsiteX45" fmla="*/ 51738 w 81305"/>
                <a:gd name="connsiteY45" fmla="*/ 72862 h 91713"/>
                <a:gd name="connsiteX46" fmla="*/ 43311 w 81305"/>
                <a:gd name="connsiteY46" fmla="*/ 79533 h 91713"/>
                <a:gd name="connsiteX47" fmla="*/ 30308 w 81305"/>
                <a:gd name="connsiteY47" fmla="*/ 82449 h 91713"/>
                <a:gd name="connsiteX48" fmla="*/ 16290 w 81305"/>
                <a:gd name="connsiteY48" fmla="*/ 78646 h 91713"/>
                <a:gd name="connsiteX49" fmla="*/ 11537 w 81305"/>
                <a:gd name="connsiteY49" fmla="*/ 68125 h 9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305" h="91713">
                  <a:moveTo>
                    <a:pt x="46550" y="88105"/>
                  </a:moveTo>
                  <a:cubicBezTo>
                    <a:pt x="51126" y="85962"/>
                    <a:pt x="55106" y="83029"/>
                    <a:pt x="58554" y="79388"/>
                  </a:cubicBezTo>
                  <a:cubicBezTo>
                    <a:pt x="60745" y="81386"/>
                    <a:pt x="63211" y="83400"/>
                    <a:pt x="65950" y="85430"/>
                  </a:cubicBezTo>
                  <a:cubicBezTo>
                    <a:pt x="69333" y="87927"/>
                    <a:pt x="72975" y="90022"/>
                    <a:pt x="76858" y="91714"/>
                  </a:cubicBezTo>
                  <a:lnTo>
                    <a:pt x="81305" y="83335"/>
                  </a:lnTo>
                  <a:cubicBezTo>
                    <a:pt x="77760" y="81724"/>
                    <a:pt x="74425" y="79758"/>
                    <a:pt x="71347" y="77438"/>
                  </a:cubicBezTo>
                  <a:cubicBezTo>
                    <a:pt x="68834" y="75537"/>
                    <a:pt x="66626" y="73635"/>
                    <a:pt x="64709" y="71718"/>
                  </a:cubicBezTo>
                  <a:cubicBezTo>
                    <a:pt x="67271" y="67577"/>
                    <a:pt x="69366" y="62888"/>
                    <a:pt x="70912" y="57587"/>
                  </a:cubicBezTo>
                  <a:cubicBezTo>
                    <a:pt x="72685" y="51496"/>
                    <a:pt x="73700" y="44939"/>
                    <a:pt x="73958" y="37929"/>
                  </a:cubicBezTo>
                  <a:lnTo>
                    <a:pt x="63935" y="37929"/>
                  </a:lnTo>
                  <a:cubicBezTo>
                    <a:pt x="63758" y="43504"/>
                    <a:pt x="63065" y="48773"/>
                    <a:pt x="61841" y="53720"/>
                  </a:cubicBezTo>
                  <a:cubicBezTo>
                    <a:pt x="60794" y="57909"/>
                    <a:pt x="59392" y="61567"/>
                    <a:pt x="57651" y="64773"/>
                  </a:cubicBezTo>
                  <a:lnTo>
                    <a:pt x="36560" y="42119"/>
                  </a:lnTo>
                  <a:cubicBezTo>
                    <a:pt x="40604" y="39621"/>
                    <a:pt x="43875" y="37221"/>
                    <a:pt x="46373" y="34949"/>
                  </a:cubicBezTo>
                  <a:cubicBezTo>
                    <a:pt x="49208" y="32371"/>
                    <a:pt x="51239" y="29744"/>
                    <a:pt x="52463" y="27086"/>
                  </a:cubicBezTo>
                  <a:cubicBezTo>
                    <a:pt x="53688" y="24427"/>
                    <a:pt x="54300" y="21527"/>
                    <a:pt x="54300" y="18401"/>
                  </a:cubicBezTo>
                  <a:cubicBezTo>
                    <a:pt x="54300" y="12729"/>
                    <a:pt x="52383" y="8250"/>
                    <a:pt x="48532" y="4947"/>
                  </a:cubicBezTo>
                  <a:cubicBezTo>
                    <a:pt x="44681" y="1644"/>
                    <a:pt x="39750" y="0"/>
                    <a:pt x="33756" y="0"/>
                  </a:cubicBezTo>
                  <a:cubicBezTo>
                    <a:pt x="29100" y="0"/>
                    <a:pt x="25039" y="854"/>
                    <a:pt x="21575" y="2530"/>
                  </a:cubicBezTo>
                  <a:cubicBezTo>
                    <a:pt x="18111" y="4222"/>
                    <a:pt x="15420" y="6542"/>
                    <a:pt x="13519" y="9507"/>
                  </a:cubicBezTo>
                  <a:cubicBezTo>
                    <a:pt x="11617" y="12471"/>
                    <a:pt x="10667" y="15936"/>
                    <a:pt x="10667" y="19915"/>
                  </a:cubicBezTo>
                  <a:cubicBezTo>
                    <a:pt x="10667" y="23557"/>
                    <a:pt x="11569" y="27037"/>
                    <a:pt x="13390" y="30373"/>
                  </a:cubicBezTo>
                  <a:cubicBezTo>
                    <a:pt x="15114" y="33531"/>
                    <a:pt x="17772" y="37011"/>
                    <a:pt x="21333" y="40814"/>
                  </a:cubicBezTo>
                  <a:lnTo>
                    <a:pt x="19416" y="41974"/>
                  </a:lnTo>
                  <a:cubicBezTo>
                    <a:pt x="13245" y="45873"/>
                    <a:pt x="8459" y="49869"/>
                    <a:pt x="5075" y="53962"/>
                  </a:cubicBezTo>
                  <a:cubicBezTo>
                    <a:pt x="1692" y="58070"/>
                    <a:pt x="0" y="62985"/>
                    <a:pt x="0" y="68737"/>
                  </a:cubicBezTo>
                  <a:cubicBezTo>
                    <a:pt x="0" y="73394"/>
                    <a:pt x="1176" y="77422"/>
                    <a:pt x="3545" y="80854"/>
                  </a:cubicBezTo>
                  <a:cubicBezTo>
                    <a:pt x="5913" y="84286"/>
                    <a:pt x="9345" y="86945"/>
                    <a:pt x="13825" y="88846"/>
                  </a:cubicBezTo>
                  <a:cubicBezTo>
                    <a:pt x="18304" y="90747"/>
                    <a:pt x="23637" y="91698"/>
                    <a:pt x="29809" y="91698"/>
                  </a:cubicBezTo>
                  <a:cubicBezTo>
                    <a:pt x="35980" y="91698"/>
                    <a:pt x="41394" y="90489"/>
                    <a:pt x="46550" y="88089"/>
                  </a:cubicBezTo>
                  <a:close/>
                  <a:moveTo>
                    <a:pt x="24797" y="11553"/>
                  </a:moveTo>
                  <a:cubicBezTo>
                    <a:pt x="27037" y="9442"/>
                    <a:pt x="30018" y="8379"/>
                    <a:pt x="33740" y="8379"/>
                  </a:cubicBezTo>
                  <a:cubicBezTo>
                    <a:pt x="37124" y="8379"/>
                    <a:pt x="39815" y="9329"/>
                    <a:pt x="41797" y="11231"/>
                  </a:cubicBezTo>
                  <a:cubicBezTo>
                    <a:pt x="43778" y="13132"/>
                    <a:pt x="44777" y="15726"/>
                    <a:pt x="44777" y="19029"/>
                  </a:cubicBezTo>
                  <a:cubicBezTo>
                    <a:pt x="44777" y="22332"/>
                    <a:pt x="43488" y="25329"/>
                    <a:pt x="40910" y="28036"/>
                  </a:cubicBezTo>
                  <a:cubicBezTo>
                    <a:pt x="38671" y="30389"/>
                    <a:pt x="35239" y="33015"/>
                    <a:pt x="30614" y="35948"/>
                  </a:cubicBezTo>
                  <a:cubicBezTo>
                    <a:pt x="28568" y="33595"/>
                    <a:pt x="26860" y="31613"/>
                    <a:pt x="25571" y="30002"/>
                  </a:cubicBezTo>
                  <a:cubicBezTo>
                    <a:pt x="24089" y="28181"/>
                    <a:pt x="23041" y="26489"/>
                    <a:pt x="22397" y="24926"/>
                  </a:cubicBezTo>
                  <a:cubicBezTo>
                    <a:pt x="21768" y="23364"/>
                    <a:pt x="21446" y="21688"/>
                    <a:pt x="21446" y="19915"/>
                  </a:cubicBezTo>
                  <a:cubicBezTo>
                    <a:pt x="21446" y="16451"/>
                    <a:pt x="22558" y="13664"/>
                    <a:pt x="24814" y="11537"/>
                  </a:cubicBezTo>
                  <a:close/>
                  <a:moveTo>
                    <a:pt x="11537" y="68125"/>
                  </a:moveTo>
                  <a:cubicBezTo>
                    <a:pt x="11537" y="65257"/>
                    <a:pt x="12068" y="62711"/>
                    <a:pt x="13116" y="60520"/>
                  </a:cubicBezTo>
                  <a:cubicBezTo>
                    <a:pt x="14179" y="58328"/>
                    <a:pt x="15807" y="56201"/>
                    <a:pt x="17998" y="54171"/>
                  </a:cubicBezTo>
                  <a:cubicBezTo>
                    <a:pt x="20189" y="52141"/>
                    <a:pt x="22993" y="50030"/>
                    <a:pt x="26377" y="47823"/>
                  </a:cubicBezTo>
                  <a:lnTo>
                    <a:pt x="27327" y="47210"/>
                  </a:lnTo>
                  <a:lnTo>
                    <a:pt x="51738" y="72862"/>
                  </a:lnTo>
                  <a:cubicBezTo>
                    <a:pt x="49289" y="75682"/>
                    <a:pt x="46485" y="77921"/>
                    <a:pt x="43311" y="79533"/>
                  </a:cubicBezTo>
                  <a:cubicBezTo>
                    <a:pt x="39460" y="81482"/>
                    <a:pt x="35126" y="82449"/>
                    <a:pt x="30308" y="82449"/>
                  </a:cubicBezTo>
                  <a:cubicBezTo>
                    <a:pt x="24137" y="82449"/>
                    <a:pt x="19464" y="81176"/>
                    <a:pt x="16290" y="78646"/>
                  </a:cubicBezTo>
                  <a:cubicBezTo>
                    <a:pt x="13116" y="76117"/>
                    <a:pt x="11537" y="72604"/>
                    <a:pt x="11537" y="68125"/>
                  </a:cubicBezTo>
                  <a:close/>
                </a:path>
              </a:pathLst>
            </a:custGeom>
            <a:grpFill/>
            <a:ln w="160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578765C-03A9-94A9-193D-4F13B1AAD593}"/>
                </a:ext>
              </a:extLst>
            </p:cNvPr>
            <p:cNvSpPr/>
            <p:nvPr/>
          </p:nvSpPr>
          <p:spPr>
            <a:xfrm>
              <a:off x="3560530" y="776519"/>
              <a:ext cx="76632" cy="89425"/>
            </a:xfrm>
            <a:custGeom>
              <a:avLst/>
              <a:gdLst>
                <a:gd name="connsiteX0" fmla="*/ 55637 w 76632"/>
                <a:gd name="connsiteY0" fmla="*/ 5204 h 89425"/>
                <a:gd name="connsiteX1" fmla="*/ 30324 w 76632"/>
                <a:gd name="connsiteY1" fmla="*/ 0 h 89425"/>
                <a:gd name="connsiteX2" fmla="*/ 0 w 76632"/>
                <a:gd name="connsiteY2" fmla="*/ 0 h 89425"/>
                <a:gd name="connsiteX3" fmla="*/ 0 w 76632"/>
                <a:gd name="connsiteY3" fmla="*/ 89426 h 89425"/>
                <a:gd name="connsiteX4" fmla="*/ 30324 w 76632"/>
                <a:gd name="connsiteY4" fmla="*/ 89426 h 89425"/>
                <a:gd name="connsiteX5" fmla="*/ 55637 w 76632"/>
                <a:gd name="connsiteY5" fmla="*/ 84221 h 89425"/>
                <a:gd name="connsiteX6" fmla="*/ 71299 w 76632"/>
                <a:gd name="connsiteY6" fmla="*/ 68995 h 89425"/>
                <a:gd name="connsiteX7" fmla="*/ 76632 w 76632"/>
                <a:gd name="connsiteY7" fmla="*/ 44632 h 89425"/>
                <a:gd name="connsiteX8" fmla="*/ 71299 w 76632"/>
                <a:gd name="connsiteY8" fmla="*/ 20334 h 89425"/>
                <a:gd name="connsiteX9" fmla="*/ 55637 w 76632"/>
                <a:gd name="connsiteY9" fmla="*/ 5172 h 89425"/>
                <a:gd name="connsiteX10" fmla="*/ 55960 w 76632"/>
                <a:gd name="connsiteY10" fmla="*/ 70783 h 89425"/>
                <a:gd name="connsiteX11" fmla="*/ 29438 w 76632"/>
                <a:gd name="connsiteY11" fmla="*/ 79404 h 89425"/>
                <a:gd name="connsiteX12" fmla="*/ 11811 w 76632"/>
                <a:gd name="connsiteY12" fmla="*/ 79404 h 89425"/>
                <a:gd name="connsiteX13" fmla="*/ 11811 w 76632"/>
                <a:gd name="connsiteY13" fmla="*/ 10022 h 89425"/>
                <a:gd name="connsiteX14" fmla="*/ 29438 w 76632"/>
                <a:gd name="connsiteY14" fmla="*/ 10022 h 89425"/>
                <a:gd name="connsiteX15" fmla="*/ 55960 w 76632"/>
                <a:gd name="connsiteY15" fmla="*/ 18578 h 89425"/>
                <a:gd name="connsiteX16" fmla="*/ 64580 w 76632"/>
                <a:gd name="connsiteY16" fmla="*/ 44649 h 89425"/>
                <a:gd name="connsiteX17" fmla="*/ 55960 w 76632"/>
                <a:gd name="connsiteY17" fmla="*/ 70783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632" h="89425">
                  <a:moveTo>
                    <a:pt x="55637" y="5204"/>
                  </a:moveTo>
                  <a:cubicBezTo>
                    <a:pt x="48741" y="1740"/>
                    <a:pt x="40314" y="0"/>
                    <a:pt x="30324" y="0"/>
                  </a:cubicBezTo>
                  <a:lnTo>
                    <a:pt x="0" y="0"/>
                  </a:lnTo>
                  <a:lnTo>
                    <a:pt x="0" y="89426"/>
                  </a:lnTo>
                  <a:lnTo>
                    <a:pt x="30324" y="89426"/>
                  </a:lnTo>
                  <a:cubicBezTo>
                    <a:pt x="40298" y="89426"/>
                    <a:pt x="48741" y="87686"/>
                    <a:pt x="55637" y="84221"/>
                  </a:cubicBezTo>
                  <a:cubicBezTo>
                    <a:pt x="62534" y="80757"/>
                    <a:pt x="67754" y="75682"/>
                    <a:pt x="71299" y="68995"/>
                  </a:cubicBezTo>
                  <a:cubicBezTo>
                    <a:pt x="74844" y="62308"/>
                    <a:pt x="76632" y="54203"/>
                    <a:pt x="76632" y="44632"/>
                  </a:cubicBezTo>
                  <a:cubicBezTo>
                    <a:pt x="76632" y="35061"/>
                    <a:pt x="74860" y="26973"/>
                    <a:pt x="71299" y="20334"/>
                  </a:cubicBezTo>
                  <a:cubicBezTo>
                    <a:pt x="67754" y="13696"/>
                    <a:pt x="62518" y="8653"/>
                    <a:pt x="55637" y="5172"/>
                  </a:cubicBezTo>
                  <a:close/>
                  <a:moveTo>
                    <a:pt x="55960" y="70783"/>
                  </a:moveTo>
                  <a:cubicBezTo>
                    <a:pt x="50207" y="76536"/>
                    <a:pt x="41378" y="79404"/>
                    <a:pt x="29438" y="79404"/>
                  </a:cubicBezTo>
                  <a:lnTo>
                    <a:pt x="11811" y="79404"/>
                  </a:lnTo>
                  <a:lnTo>
                    <a:pt x="11811" y="10022"/>
                  </a:lnTo>
                  <a:lnTo>
                    <a:pt x="29438" y="10022"/>
                  </a:lnTo>
                  <a:cubicBezTo>
                    <a:pt x="41362" y="10022"/>
                    <a:pt x="50191" y="12874"/>
                    <a:pt x="55960" y="18578"/>
                  </a:cubicBezTo>
                  <a:cubicBezTo>
                    <a:pt x="61712" y="24282"/>
                    <a:pt x="64580" y="32983"/>
                    <a:pt x="64580" y="44649"/>
                  </a:cubicBezTo>
                  <a:cubicBezTo>
                    <a:pt x="64580" y="56314"/>
                    <a:pt x="61696" y="65031"/>
                    <a:pt x="55960" y="70783"/>
                  </a:cubicBezTo>
                  <a:close/>
                </a:path>
              </a:pathLst>
            </a:custGeom>
            <a:grpFill/>
            <a:ln w="1606"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8DFBBBA-C196-D8CB-B232-D740F8E2472B}"/>
                </a:ext>
              </a:extLst>
            </p:cNvPr>
            <p:cNvSpPr/>
            <p:nvPr/>
          </p:nvSpPr>
          <p:spPr>
            <a:xfrm>
              <a:off x="3646814"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25 w 57860"/>
                <a:gd name="connsiteY18" fmla="*/ 14775 h 66078"/>
                <a:gd name="connsiteX19" fmla="*/ 30566 w 57860"/>
                <a:gd name="connsiteY19" fmla="*/ 8363 h 66078"/>
                <a:gd name="connsiteX20" fmla="*/ 43440 w 57860"/>
                <a:gd name="connsiteY20" fmla="*/ 13825 h 66078"/>
                <a:gd name="connsiteX21" fmla="*/ 47774 w 57860"/>
                <a:gd name="connsiteY21" fmla="*/ 27521 h 66078"/>
                <a:gd name="connsiteX22" fmla="*/ 11424 w 57860"/>
                <a:gd name="connsiteY22" fmla="*/ 27521 h 66078"/>
                <a:gd name="connsiteX23" fmla="*/ 16225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2"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5"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5" y="14775"/>
                  </a:cubicBezTo>
                  <a:close/>
                </a:path>
              </a:pathLst>
            </a:custGeom>
            <a:grpFill/>
            <a:ln w="1606"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43819260-C58B-ACB3-CDBC-5333298A193F}"/>
                </a:ext>
              </a:extLst>
            </p:cNvPr>
            <p:cNvSpPr/>
            <p:nvPr/>
          </p:nvSpPr>
          <p:spPr>
            <a:xfrm>
              <a:off x="3709460" y="772088"/>
              <a:ext cx="44390" cy="93873"/>
            </a:xfrm>
            <a:custGeom>
              <a:avLst/>
              <a:gdLst>
                <a:gd name="connsiteX0" fmla="*/ 34256 w 44390"/>
                <a:gd name="connsiteY0" fmla="*/ 0 h 93873"/>
                <a:gd name="connsiteX1" fmla="*/ 18014 w 44390"/>
                <a:gd name="connsiteY1" fmla="*/ 5768 h 93873"/>
                <a:gd name="connsiteX2" fmla="*/ 12439 w 44390"/>
                <a:gd name="connsiteY2" fmla="*/ 22703 h 93873"/>
                <a:gd name="connsiteX3" fmla="*/ 12439 w 44390"/>
                <a:gd name="connsiteY3" fmla="*/ 30066 h 93873"/>
                <a:gd name="connsiteX4" fmla="*/ 0 w 44390"/>
                <a:gd name="connsiteY4" fmla="*/ 30066 h 93873"/>
                <a:gd name="connsiteX5" fmla="*/ 0 w 44390"/>
                <a:gd name="connsiteY5" fmla="*/ 38945 h 93873"/>
                <a:gd name="connsiteX6" fmla="*/ 12439 w 44390"/>
                <a:gd name="connsiteY6" fmla="*/ 38945 h 93873"/>
                <a:gd name="connsiteX7" fmla="*/ 12439 w 44390"/>
                <a:gd name="connsiteY7" fmla="*/ 93873 h 93873"/>
                <a:gd name="connsiteX8" fmla="*/ 23976 w 44390"/>
                <a:gd name="connsiteY8" fmla="*/ 93873 h 93873"/>
                <a:gd name="connsiteX9" fmla="*/ 23976 w 44390"/>
                <a:gd name="connsiteY9" fmla="*/ 38945 h 93873"/>
                <a:gd name="connsiteX10" fmla="*/ 41603 w 44390"/>
                <a:gd name="connsiteY10" fmla="*/ 38945 h 93873"/>
                <a:gd name="connsiteX11" fmla="*/ 41603 w 44390"/>
                <a:gd name="connsiteY11" fmla="*/ 30066 h 93873"/>
                <a:gd name="connsiteX12" fmla="*/ 23976 w 44390"/>
                <a:gd name="connsiteY12" fmla="*/ 30066 h 93873"/>
                <a:gd name="connsiteX13" fmla="*/ 23976 w 44390"/>
                <a:gd name="connsiteY13" fmla="*/ 23476 h 93873"/>
                <a:gd name="connsiteX14" fmla="*/ 25378 w 44390"/>
                <a:gd name="connsiteY14" fmla="*/ 15678 h 93873"/>
                <a:gd name="connsiteX15" fmla="*/ 29567 w 44390"/>
                <a:gd name="connsiteY15" fmla="*/ 11182 h 93873"/>
                <a:gd name="connsiteX16" fmla="*/ 36157 w 44390"/>
                <a:gd name="connsiteY16" fmla="*/ 9668 h 93873"/>
                <a:gd name="connsiteX17" fmla="*/ 40588 w 44390"/>
                <a:gd name="connsiteY17" fmla="*/ 10054 h 93873"/>
                <a:gd name="connsiteX18" fmla="*/ 44391 w 44390"/>
                <a:gd name="connsiteY18" fmla="*/ 11069 h 93873"/>
                <a:gd name="connsiteX19" fmla="*/ 44391 w 44390"/>
                <a:gd name="connsiteY19" fmla="*/ 1676 h 93873"/>
                <a:gd name="connsiteX20" fmla="*/ 39637 w 44390"/>
                <a:gd name="connsiteY20" fmla="*/ 403 h 93873"/>
                <a:gd name="connsiteX21" fmla="*/ 34240 w 44390"/>
                <a:gd name="connsiteY21" fmla="*/ 16 h 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390" h="93873">
                  <a:moveTo>
                    <a:pt x="34256" y="0"/>
                  </a:moveTo>
                  <a:cubicBezTo>
                    <a:pt x="27150" y="0"/>
                    <a:pt x="21736" y="1917"/>
                    <a:pt x="18014" y="5768"/>
                  </a:cubicBezTo>
                  <a:cubicBezTo>
                    <a:pt x="14292" y="9619"/>
                    <a:pt x="12439" y="15259"/>
                    <a:pt x="12439" y="22703"/>
                  </a:cubicBezTo>
                  <a:lnTo>
                    <a:pt x="12439" y="30066"/>
                  </a:lnTo>
                  <a:lnTo>
                    <a:pt x="0" y="30066"/>
                  </a:lnTo>
                  <a:lnTo>
                    <a:pt x="0" y="38945"/>
                  </a:lnTo>
                  <a:lnTo>
                    <a:pt x="12439" y="38945"/>
                  </a:lnTo>
                  <a:lnTo>
                    <a:pt x="12439" y="93873"/>
                  </a:lnTo>
                  <a:lnTo>
                    <a:pt x="23976" y="93873"/>
                  </a:lnTo>
                  <a:lnTo>
                    <a:pt x="23976" y="38945"/>
                  </a:lnTo>
                  <a:lnTo>
                    <a:pt x="41603" y="38945"/>
                  </a:lnTo>
                  <a:lnTo>
                    <a:pt x="41603" y="30066"/>
                  </a:lnTo>
                  <a:lnTo>
                    <a:pt x="23976" y="30066"/>
                  </a:lnTo>
                  <a:lnTo>
                    <a:pt x="23976" y="23476"/>
                  </a:lnTo>
                  <a:cubicBezTo>
                    <a:pt x="23976" y="20270"/>
                    <a:pt x="24443" y="17660"/>
                    <a:pt x="25378" y="15678"/>
                  </a:cubicBezTo>
                  <a:cubicBezTo>
                    <a:pt x="26312" y="13696"/>
                    <a:pt x="27698" y="12181"/>
                    <a:pt x="29567" y="11182"/>
                  </a:cubicBezTo>
                  <a:cubicBezTo>
                    <a:pt x="31436" y="10183"/>
                    <a:pt x="33627" y="9668"/>
                    <a:pt x="36157" y="9668"/>
                  </a:cubicBezTo>
                  <a:cubicBezTo>
                    <a:pt x="37591" y="9668"/>
                    <a:pt x="39073" y="9797"/>
                    <a:pt x="40588" y="10054"/>
                  </a:cubicBezTo>
                  <a:cubicBezTo>
                    <a:pt x="42119" y="10312"/>
                    <a:pt x="43376" y="10651"/>
                    <a:pt x="44391" y="11069"/>
                  </a:cubicBezTo>
                  <a:lnTo>
                    <a:pt x="44391" y="1676"/>
                  </a:lnTo>
                  <a:cubicBezTo>
                    <a:pt x="43118" y="1080"/>
                    <a:pt x="41539" y="661"/>
                    <a:pt x="39637" y="403"/>
                  </a:cubicBezTo>
                  <a:cubicBezTo>
                    <a:pt x="37736" y="145"/>
                    <a:pt x="35931" y="16"/>
                    <a:pt x="34240" y="16"/>
                  </a:cubicBezTo>
                  <a:close/>
                </a:path>
              </a:pathLst>
            </a:custGeom>
            <a:grpFill/>
            <a:ln w="1606"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A5736B4C-1294-EFFE-8BE3-063AE7F1B248}"/>
                </a:ext>
              </a:extLst>
            </p:cNvPr>
            <p:cNvSpPr/>
            <p:nvPr/>
          </p:nvSpPr>
          <p:spPr>
            <a:xfrm>
              <a:off x="3755269" y="801010"/>
              <a:ext cx="57860" cy="66078"/>
            </a:xfrm>
            <a:custGeom>
              <a:avLst/>
              <a:gdLst>
                <a:gd name="connsiteX0" fmla="*/ 45406 w 57860"/>
                <a:gd name="connsiteY0" fmla="*/ 3738 h 66078"/>
                <a:gd name="connsiteX1" fmla="*/ 30566 w 57860"/>
                <a:gd name="connsiteY1" fmla="*/ 0 h 66078"/>
                <a:gd name="connsiteX2" fmla="*/ 14582 w 57860"/>
                <a:gd name="connsiteY2" fmla="*/ 4125 h 66078"/>
                <a:gd name="connsiteX3" fmla="*/ 3867 w 57860"/>
                <a:gd name="connsiteY3" fmla="*/ 15662 h 66078"/>
                <a:gd name="connsiteX4" fmla="*/ 0 w 57860"/>
                <a:gd name="connsiteY4" fmla="*/ 33225 h 66078"/>
                <a:gd name="connsiteX5" fmla="*/ 8814 w 57860"/>
                <a:gd name="connsiteY5" fmla="*/ 57329 h 66078"/>
                <a:gd name="connsiteX6" fmla="*/ 32854 w 57860"/>
                <a:gd name="connsiteY6" fmla="*/ 66079 h 66078"/>
                <a:gd name="connsiteX7" fmla="*/ 46244 w 57860"/>
                <a:gd name="connsiteY7" fmla="*/ 63919 h 66078"/>
                <a:gd name="connsiteX8" fmla="*/ 56959 w 57860"/>
                <a:gd name="connsiteY8" fmla="*/ 57829 h 66078"/>
                <a:gd name="connsiteX9" fmla="*/ 53156 w 57860"/>
                <a:gd name="connsiteY9" fmla="*/ 49837 h 66078"/>
                <a:gd name="connsiteX10" fmla="*/ 43649 w 57860"/>
                <a:gd name="connsiteY10" fmla="*/ 55299 h 66078"/>
                <a:gd name="connsiteX11" fmla="*/ 32999 w 57860"/>
                <a:gd name="connsiteY11" fmla="*/ 56943 h 66078"/>
                <a:gd name="connsiteX12" fmla="*/ 16951 w 57860"/>
                <a:gd name="connsiteY12" fmla="*/ 50981 h 66078"/>
                <a:gd name="connsiteX13" fmla="*/ 11214 w 57860"/>
                <a:gd name="connsiteY13" fmla="*/ 34369 h 66078"/>
                <a:gd name="connsiteX14" fmla="*/ 57861 w 57860"/>
                <a:gd name="connsiteY14" fmla="*/ 34369 h 66078"/>
                <a:gd name="connsiteX15" fmla="*/ 57861 w 57860"/>
                <a:gd name="connsiteY15" fmla="*/ 30566 h 66078"/>
                <a:gd name="connsiteX16" fmla="*/ 54687 w 57860"/>
                <a:gd name="connsiteY16" fmla="*/ 14324 h 66078"/>
                <a:gd name="connsiteX17" fmla="*/ 45422 w 57860"/>
                <a:gd name="connsiteY17" fmla="*/ 3738 h 66078"/>
                <a:gd name="connsiteX18" fmla="*/ 16242 w 57860"/>
                <a:gd name="connsiteY18" fmla="*/ 14775 h 66078"/>
                <a:gd name="connsiteX19" fmla="*/ 30582 w 57860"/>
                <a:gd name="connsiteY19" fmla="*/ 8363 h 66078"/>
                <a:gd name="connsiteX20" fmla="*/ 43456 w 57860"/>
                <a:gd name="connsiteY20" fmla="*/ 13825 h 66078"/>
                <a:gd name="connsiteX21" fmla="*/ 47790 w 57860"/>
                <a:gd name="connsiteY21" fmla="*/ 27521 h 66078"/>
                <a:gd name="connsiteX22" fmla="*/ 11440 w 57860"/>
                <a:gd name="connsiteY22" fmla="*/ 27521 h 66078"/>
                <a:gd name="connsiteX23" fmla="*/ 16242 w 57860"/>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0"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42" y="14775"/>
                  </a:moveTo>
                  <a:cubicBezTo>
                    <a:pt x="19625" y="10506"/>
                    <a:pt x="24395" y="8363"/>
                    <a:pt x="30582" y="8363"/>
                  </a:cubicBezTo>
                  <a:cubicBezTo>
                    <a:pt x="36254" y="8363"/>
                    <a:pt x="40540" y="10183"/>
                    <a:pt x="43456" y="13825"/>
                  </a:cubicBezTo>
                  <a:cubicBezTo>
                    <a:pt x="46131" y="17144"/>
                    <a:pt x="47565" y="21720"/>
                    <a:pt x="47790" y="27521"/>
                  </a:cubicBezTo>
                  <a:lnTo>
                    <a:pt x="11440" y="27521"/>
                  </a:lnTo>
                  <a:cubicBezTo>
                    <a:pt x="12020" y="22348"/>
                    <a:pt x="13615" y="18095"/>
                    <a:pt x="16242" y="14775"/>
                  </a:cubicBezTo>
                  <a:close/>
                </a:path>
              </a:pathLst>
            </a:custGeom>
            <a:grpFill/>
            <a:ln w="1606"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7899193-547D-08D7-B68E-8FB1DA6B876C}"/>
                </a:ext>
              </a:extLst>
            </p:cNvPr>
            <p:cNvSpPr/>
            <p:nvPr/>
          </p:nvSpPr>
          <p:spPr>
            <a:xfrm>
              <a:off x="3825923" y="800978"/>
              <a:ext cx="56829" cy="64966"/>
            </a:xfrm>
            <a:custGeom>
              <a:avLst/>
              <a:gdLst>
                <a:gd name="connsiteX0" fmla="*/ 34127 w 56829"/>
                <a:gd name="connsiteY0" fmla="*/ 32 h 64966"/>
                <a:gd name="connsiteX1" fmla="*/ 19915 w 56829"/>
                <a:gd name="connsiteY1" fmla="*/ 3835 h 64966"/>
                <a:gd name="connsiteX2" fmla="*/ 12181 w 56829"/>
                <a:gd name="connsiteY2" fmla="*/ 12181 h 64966"/>
                <a:gd name="connsiteX3" fmla="*/ 11166 w 56829"/>
                <a:gd name="connsiteY3" fmla="*/ 1160 h 64966"/>
                <a:gd name="connsiteX4" fmla="*/ 0 w 56829"/>
                <a:gd name="connsiteY4" fmla="*/ 1160 h 64966"/>
                <a:gd name="connsiteX5" fmla="*/ 757 w 56829"/>
                <a:gd name="connsiteY5" fmla="*/ 8765 h 64966"/>
                <a:gd name="connsiteX6" fmla="*/ 1015 w 56829"/>
                <a:gd name="connsiteY6" fmla="*/ 16258 h 64966"/>
                <a:gd name="connsiteX7" fmla="*/ 1015 w 56829"/>
                <a:gd name="connsiteY7" fmla="*/ 64967 h 64966"/>
                <a:gd name="connsiteX8" fmla="*/ 12568 w 56829"/>
                <a:gd name="connsiteY8" fmla="*/ 64967 h 64966"/>
                <a:gd name="connsiteX9" fmla="*/ 12568 w 56829"/>
                <a:gd name="connsiteY9" fmla="*/ 28681 h 64966"/>
                <a:gd name="connsiteX10" fmla="*/ 17579 w 56829"/>
                <a:gd name="connsiteY10" fmla="*/ 14598 h 64966"/>
                <a:gd name="connsiteX11" fmla="*/ 31210 w 56829"/>
                <a:gd name="connsiteY11" fmla="*/ 9394 h 64966"/>
                <a:gd name="connsiteX12" fmla="*/ 41861 w 56829"/>
                <a:gd name="connsiteY12" fmla="*/ 13261 h 64966"/>
                <a:gd name="connsiteX13" fmla="*/ 45293 w 56829"/>
                <a:gd name="connsiteY13" fmla="*/ 25877 h 64966"/>
                <a:gd name="connsiteX14" fmla="*/ 45293 w 56829"/>
                <a:gd name="connsiteY14" fmla="*/ 64951 h 64966"/>
                <a:gd name="connsiteX15" fmla="*/ 56830 w 56829"/>
                <a:gd name="connsiteY15" fmla="*/ 64951 h 64966"/>
                <a:gd name="connsiteX16" fmla="*/ 56830 w 56829"/>
                <a:gd name="connsiteY16" fmla="*/ 25249 h 64966"/>
                <a:gd name="connsiteX17" fmla="*/ 51126 w 56829"/>
                <a:gd name="connsiteY17" fmla="*/ 6155 h 64966"/>
                <a:gd name="connsiteX18" fmla="*/ 34127 w 56829"/>
                <a:gd name="connsiteY18" fmla="*/ 0 h 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829" h="64966">
                  <a:moveTo>
                    <a:pt x="34127" y="32"/>
                  </a:moveTo>
                  <a:cubicBezTo>
                    <a:pt x="28713" y="32"/>
                    <a:pt x="23976" y="1305"/>
                    <a:pt x="19915" y="3835"/>
                  </a:cubicBezTo>
                  <a:cubicBezTo>
                    <a:pt x="16645" y="5881"/>
                    <a:pt x="14083" y="8669"/>
                    <a:pt x="12181" y="12181"/>
                  </a:cubicBezTo>
                  <a:lnTo>
                    <a:pt x="11166" y="1160"/>
                  </a:lnTo>
                  <a:lnTo>
                    <a:pt x="0" y="1160"/>
                  </a:lnTo>
                  <a:cubicBezTo>
                    <a:pt x="338" y="3690"/>
                    <a:pt x="596" y="6236"/>
                    <a:pt x="757" y="8765"/>
                  </a:cubicBezTo>
                  <a:cubicBezTo>
                    <a:pt x="918" y="11295"/>
                    <a:pt x="1015" y="13793"/>
                    <a:pt x="1015" y="16258"/>
                  </a:cubicBezTo>
                  <a:lnTo>
                    <a:pt x="1015" y="64967"/>
                  </a:lnTo>
                  <a:lnTo>
                    <a:pt x="12568" y="64967"/>
                  </a:lnTo>
                  <a:lnTo>
                    <a:pt x="12568" y="28681"/>
                  </a:lnTo>
                  <a:cubicBezTo>
                    <a:pt x="12568" y="22767"/>
                    <a:pt x="14228" y="18062"/>
                    <a:pt x="17579" y="14598"/>
                  </a:cubicBezTo>
                  <a:cubicBezTo>
                    <a:pt x="20914" y="11134"/>
                    <a:pt x="25458" y="9394"/>
                    <a:pt x="31210" y="9394"/>
                  </a:cubicBezTo>
                  <a:cubicBezTo>
                    <a:pt x="36028" y="9394"/>
                    <a:pt x="39589" y="10683"/>
                    <a:pt x="41861" y="13261"/>
                  </a:cubicBezTo>
                  <a:cubicBezTo>
                    <a:pt x="44149" y="15839"/>
                    <a:pt x="45293" y="20044"/>
                    <a:pt x="45293" y="25877"/>
                  </a:cubicBezTo>
                  <a:lnTo>
                    <a:pt x="45293" y="64951"/>
                  </a:lnTo>
                  <a:lnTo>
                    <a:pt x="56830" y="64951"/>
                  </a:lnTo>
                  <a:lnTo>
                    <a:pt x="56830" y="25249"/>
                  </a:lnTo>
                  <a:cubicBezTo>
                    <a:pt x="56830" y="16628"/>
                    <a:pt x="54929" y="10264"/>
                    <a:pt x="51126" y="6155"/>
                  </a:cubicBezTo>
                  <a:cubicBezTo>
                    <a:pt x="47323" y="2046"/>
                    <a:pt x="41651" y="0"/>
                    <a:pt x="34127" y="0"/>
                  </a:cubicBezTo>
                  <a:close/>
                </a:path>
              </a:pathLst>
            </a:custGeom>
            <a:grpFill/>
            <a:ln w="1606"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C355DA7C-9EB1-ABE1-7963-955254E6B499}"/>
                </a:ext>
              </a:extLst>
            </p:cNvPr>
            <p:cNvSpPr/>
            <p:nvPr/>
          </p:nvSpPr>
          <p:spPr>
            <a:xfrm>
              <a:off x="3896594" y="800994"/>
              <a:ext cx="51125" cy="66094"/>
            </a:xfrm>
            <a:custGeom>
              <a:avLst/>
              <a:gdLst>
                <a:gd name="connsiteX0" fmla="*/ 33982 w 51125"/>
                <a:gd name="connsiteY0" fmla="*/ 30324 h 66094"/>
                <a:gd name="connsiteX1" fmla="*/ 21930 w 51125"/>
                <a:gd name="connsiteY1" fmla="*/ 27907 h 66094"/>
                <a:gd name="connsiteX2" fmla="*/ 14953 w 51125"/>
                <a:gd name="connsiteY2" fmla="*/ 24540 h 66094"/>
                <a:gd name="connsiteX3" fmla="*/ 12794 w 51125"/>
                <a:gd name="connsiteY3" fmla="*/ 18900 h 66094"/>
                <a:gd name="connsiteX4" fmla="*/ 16355 w 51125"/>
                <a:gd name="connsiteY4" fmla="*/ 11472 h 66094"/>
                <a:gd name="connsiteX5" fmla="*/ 27263 w 51125"/>
                <a:gd name="connsiteY5" fmla="*/ 8620 h 66094"/>
                <a:gd name="connsiteX6" fmla="*/ 37221 w 51125"/>
                <a:gd name="connsiteY6" fmla="*/ 10457 h 66094"/>
                <a:gd name="connsiteX7" fmla="*/ 46034 w 51125"/>
                <a:gd name="connsiteY7" fmla="*/ 15726 h 66094"/>
                <a:gd name="connsiteX8" fmla="*/ 49837 w 51125"/>
                <a:gd name="connsiteY8" fmla="*/ 7992 h 66094"/>
                <a:gd name="connsiteX9" fmla="*/ 39879 w 51125"/>
                <a:gd name="connsiteY9" fmla="*/ 2030 h 66094"/>
                <a:gd name="connsiteX10" fmla="*/ 26876 w 51125"/>
                <a:gd name="connsiteY10" fmla="*/ 0 h 66094"/>
                <a:gd name="connsiteX11" fmla="*/ 13615 w 51125"/>
                <a:gd name="connsiteY11" fmla="*/ 2481 h 66094"/>
                <a:gd name="connsiteX12" fmla="*/ 4931 w 51125"/>
                <a:gd name="connsiteY12" fmla="*/ 9329 h 66094"/>
                <a:gd name="connsiteX13" fmla="*/ 1885 w 51125"/>
                <a:gd name="connsiteY13" fmla="*/ 19287 h 66094"/>
                <a:gd name="connsiteX14" fmla="*/ 6010 w 51125"/>
                <a:gd name="connsiteY14" fmla="*/ 30260 h 66094"/>
                <a:gd name="connsiteX15" fmla="*/ 18256 w 51125"/>
                <a:gd name="connsiteY15" fmla="*/ 36415 h 66094"/>
                <a:gd name="connsiteX16" fmla="*/ 30308 w 51125"/>
                <a:gd name="connsiteY16" fmla="*/ 38832 h 66094"/>
                <a:gd name="connsiteX17" fmla="*/ 37913 w 51125"/>
                <a:gd name="connsiteY17" fmla="*/ 42006 h 66094"/>
                <a:gd name="connsiteX18" fmla="*/ 40330 w 51125"/>
                <a:gd name="connsiteY18" fmla="*/ 47710 h 66094"/>
                <a:gd name="connsiteX19" fmla="*/ 36592 w 51125"/>
                <a:gd name="connsiteY19" fmla="*/ 54816 h 66094"/>
                <a:gd name="connsiteX20" fmla="*/ 25619 w 51125"/>
                <a:gd name="connsiteY20" fmla="*/ 57474 h 66094"/>
                <a:gd name="connsiteX21" fmla="*/ 14018 w 51125"/>
                <a:gd name="connsiteY21" fmla="*/ 55637 h 66094"/>
                <a:gd name="connsiteX22" fmla="*/ 3674 w 51125"/>
                <a:gd name="connsiteY22" fmla="*/ 50240 h 66094"/>
                <a:gd name="connsiteX23" fmla="*/ 0 w 51125"/>
                <a:gd name="connsiteY23" fmla="*/ 58232 h 66094"/>
                <a:gd name="connsiteX24" fmla="*/ 10973 w 51125"/>
                <a:gd name="connsiteY24" fmla="*/ 64064 h 66094"/>
                <a:gd name="connsiteX25" fmla="*/ 25378 w 51125"/>
                <a:gd name="connsiteY25" fmla="*/ 66095 h 66094"/>
                <a:gd name="connsiteX26" fmla="*/ 38880 w 51125"/>
                <a:gd name="connsiteY26" fmla="*/ 63807 h 66094"/>
                <a:gd name="connsiteX27" fmla="*/ 47887 w 51125"/>
                <a:gd name="connsiteY27" fmla="*/ 57216 h 66094"/>
                <a:gd name="connsiteX28" fmla="*/ 51126 w 51125"/>
                <a:gd name="connsiteY28" fmla="*/ 46936 h 66094"/>
                <a:gd name="connsiteX29" fmla="*/ 46808 w 51125"/>
                <a:gd name="connsiteY29" fmla="*/ 36157 h 66094"/>
                <a:gd name="connsiteX30" fmla="*/ 33998 w 51125"/>
                <a:gd name="connsiteY30" fmla="*/ 30324 h 6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125" h="66094">
                  <a:moveTo>
                    <a:pt x="33982" y="30324"/>
                  </a:moveTo>
                  <a:lnTo>
                    <a:pt x="21930" y="27907"/>
                  </a:lnTo>
                  <a:cubicBezTo>
                    <a:pt x="18707" y="27150"/>
                    <a:pt x="16387" y="26022"/>
                    <a:pt x="14953" y="24540"/>
                  </a:cubicBezTo>
                  <a:cubicBezTo>
                    <a:pt x="13519" y="23057"/>
                    <a:pt x="12794" y="21172"/>
                    <a:pt x="12794" y="18900"/>
                  </a:cubicBezTo>
                  <a:cubicBezTo>
                    <a:pt x="12794" y="15855"/>
                    <a:pt x="13970" y="13390"/>
                    <a:pt x="16355" y="11472"/>
                  </a:cubicBezTo>
                  <a:cubicBezTo>
                    <a:pt x="18723" y="9571"/>
                    <a:pt x="22365" y="8620"/>
                    <a:pt x="27263" y="8620"/>
                  </a:cubicBezTo>
                  <a:cubicBezTo>
                    <a:pt x="30647" y="8620"/>
                    <a:pt x="33966" y="9233"/>
                    <a:pt x="37221" y="10457"/>
                  </a:cubicBezTo>
                  <a:cubicBezTo>
                    <a:pt x="40475" y="11682"/>
                    <a:pt x="43408" y="13438"/>
                    <a:pt x="46034" y="15726"/>
                  </a:cubicBezTo>
                  <a:lnTo>
                    <a:pt x="49837" y="7992"/>
                  </a:lnTo>
                  <a:cubicBezTo>
                    <a:pt x="47210" y="5366"/>
                    <a:pt x="43891" y="3384"/>
                    <a:pt x="39879" y="2030"/>
                  </a:cubicBezTo>
                  <a:cubicBezTo>
                    <a:pt x="35867" y="677"/>
                    <a:pt x="31533" y="0"/>
                    <a:pt x="26876" y="0"/>
                  </a:cubicBezTo>
                  <a:cubicBezTo>
                    <a:pt x="21801" y="0"/>
                    <a:pt x="17386" y="822"/>
                    <a:pt x="13615" y="2481"/>
                  </a:cubicBezTo>
                  <a:cubicBezTo>
                    <a:pt x="9845" y="4125"/>
                    <a:pt x="6961" y="6413"/>
                    <a:pt x="4931" y="9329"/>
                  </a:cubicBezTo>
                  <a:cubicBezTo>
                    <a:pt x="2900" y="12246"/>
                    <a:pt x="1885" y="15565"/>
                    <a:pt x="1885" y="19287"/>
                  </a:cubicBezTo>
                  <a:cubicBezTo>
                    <a:pt x="1885" y="23766"/>
                    <a:pt x="3255" y="27424"/>
                    <a:pt x="6010" y="30260"/>
                  </a:cubicBezTo>
                  <a:cubicBezTo>
                    <a:pt x="8765" y="33096"/>
                    <a:pt x="12842" y="35142"/>
                    <a:pt x="18256" y="36415"/>
                  </a:cubicBezTo>
                  <a:lnTo>
                    <a:pt x="30308" y="38832"/>
                  </a:lnTo>
                  <a:cubicBezTo>
                    <a:pt x="33772" y="39509"/>
                    <a:pt x="36318" y="40572"/>
                    <a:pt x="37913" y="42006"/>
                  </a:cubicBezTo>
                  <a:cubicBezTo>
                    <a:pt x="39525" y="43440"/>
                    <a:pt x="40330" y="45341"/>
                    <a:pt x="40330" y="47710"/>
                  </a:cubicBezTo>
                  <a:cubicBezTo>
                    <a:pt x="40330" y="50675"/>
                    <a:pt x="39090" y="53043"/>
                    <a:pt x="36592" y="54816"/>
                  </a:cubicBezTo>
                  <a:cubicBezTo>
                    <a:pt x="34095" y="56588"/>
                    <a:pt x="30437" y="57474"/>
                    <a:pt x="25619" y="57474"/>
                  </a:cubicBezTo>
                  <a:cubicBezTo>
                    <a:pt x="21639" y="57474"/>
                    <a:pt x="17772" y="56862"/>
                    <a:pt x="14018" y="55637"/>
                  </a:cubicBezTo>
                  <a:cubicBezTo>
                    <a:pt x="10248" y="54413"/>
                    <a:pt x="6816" y="52608"/>
                    <a:pt x="3674" y="50240"/>
                  </a:cubicBezTo>
                  <a:lnTo>
                    <a:pt x="0" y="58232"/>
                  </a:lnTo>
                  <a:cubicBezTo>
                    <a:pt x="2868" y="60761"/>
                    <a:pt x="6542" y="62711"/>
                    <a:pt x="10973" y="64064"/>
                  </a:cubicBezTo>
                  <a:cubicBezTo>
                    <a:pt x="15420" y="65418"/>
                    <a:pt x="20205" y="66095"/>
                    <a:pt x="25378" y="66095"/>
                  </a:cubicBezTo>
                  <a:cubicBezTo>
                    <a:pt x="30550" y="66095"/>
                    <a:pt x="35029" y="65337"/>
                    <a:pt x="38880" y="63807"/>
                  </a:cubicBezTo>
                  <a:cubicBezTo>
                    <a:pt x="42731" y="62292"/>
                    <a:pt x="45728" y="60085"/>
                    <a:pt x="47887" y="57216"/>
                  </a:cubicBezTo>
                  <a:cubicBezTo>
                    <a:pt x="50046" y="54348"/>
                    <a:pt x="51126" y="50916"/>
                    <a:pt x="51126" y="46936"/>
                  </a:cubicBezTo>
                  <a:cubicBezTo>
                    <a:pt x="51126" y="42457"/>
                    <a:pt x="49692" y="38864"/>
                    <a:pt x="46808" y="36157"/>
                  </a:cubicBezTo>
                  <a:cubicBezTo>
                    <a:pt x="43923" y="33450"/>
                    <a:pt x="39654" y="31500"/>
                    <a:pt x="33998" y="30324"/>
                  </a:cubicBezTo>
                  <a:close/>
                </a:path>
              </a:pathLst>
            </a:custGeom>
            <a:grpFill/>
            <a:ln w="1606"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4533E93-748F-C4B9-FC84-94A27C3BF911}"/>
                </a:ext>
              </a:extLst>
            </p:cNvPr>
            <p:cNvSpPr/>
            <p:nvPr/>
          </p:nvSpPr>
          <p:spPr>
            <a:xfrm>
              <a:off x="3958370" y="801010"/>
              <a:ext cx="57861" cy="66078"/>
            </a:xfrm>
            <a:custGeom>
              <a:avLst/>
              <a:gdLst>
                <a:gd name="connsiteX0" fmla="*/ 45406 w 57861"/>
                <a:gd name="connsiteY0" fmla="*/ 3738 h 66078"/>
                <a:gd name="connsiteX1" fmla="*/ 30566 w 57861"/>
                <a:gd name="connsiteY1" fmla="*/ 0 h 66078"/>
                <a:gd name="connsiteX2" fmla="*/ 14582 w 57861"/>
                <a:gd name="connsiteY2" fmla="*/ 4125 h 66078"/>
                <a:gd name="connsiteX3" fmla="*/ 3867 w 57861"/>
                <a:gd name="connsiteY3" fmla="*/ 15662 h 66078"/>
                <a:gd name="connsiteX4" fmla="*/ 0 w 57861"/>
                <a:gd name="connsiteY4" fmla="*/ 33225 h 66078"/>
                <a:gd name="connsiteX5" fmla="*/ 8814 w 57861"/>
                <a:gd name="connsiteY5" fmla="*/ 57329 h 66078"/>
                <a:gd name="connsiteX6" fmla="*/ 32854 w 57861"/>
                <a:gd name="connsiteY6" fmla="*/ 66079 h 66078"/>
                <a:gd name="connsiteX7" fmla="*/ 46244 w 57861"/>
                <a:gd name="connsiteY7" fmla="*/ 63919 h 66078"/>
                <a:gd name="connsiteX8" fmla="*/ 56959 w 57861"/>
                <a:gd name="connsiteY8" fmla="*/ 57829 h 66078"/>
                <a:gd name="connsiteX9" fmla="*/ 53156 w 57861"/>
                <a:gd name="connsiteY9" fmla="*/ 49837 h 66078"/>
                <a:gd name="connsiteX10" fmla="*/ 43649 w 57861"/>
                <a:gd name="connsiteY10" fmla="*/ 55299 h 66078"/>
                <a:gd name="connsiteX11" fmla="*/ 32999 w 57861"/>
                <a:gd name="connsiteY11" fmla="*/ 56943 h 66078"/>
                <a:gd name="connsiteX12" fmla="*/ 16951 w 57861"/>
                <a:gd name="connsiteY12" fmla="*/ 50981 h 66078"/>
                <a:gd name="connsiteX13" fmla="*/ 11214 w 57861"/>
                <a:gd name="connsiteY13" fmla="*/ 34369 h 66078"/>
                <a:gd name="connsiteX14" fmla="*/ 57861 w 57861"/>
                <a:gd name="connsiteY14" fmla="*/ 34369 h 66078"/>
                <a:gd name="connsiteX15" fmla="*/ 57861 w 57861"/>
                <a:gd name="connsiteY15" fmla="*/ 30566 h 66078"/>
                <a:gd name="connsiteX16" fmla="*/ 54687 w 57861"/>
                <a:gd name="connsiteY16" fmla="*/ 14324 h 66078"/>
                <a:gd name="connsiteX17" fmla="*/ 45422 w 57861"/>
                <a:gd name="connsiteY17" fmla="*/ 3738 h 66078"/>
                <a:gd name="connsiteX18" fmla="*/ 16226 w 57861"/>
                <a:gd name="connsiteY18" fmla="*/ 14775 h 66078"/>
                <a:gd name="connsiteX19" fmla="*/ 30566 w 57861"/>
                <a:gd name="connsiteY19" fmla="*/ 8363 h 66078"/>
                <a:gd name="connsiteX20" fmla="*/ 43440 w 57861"/>
                <a:gd name="connsiteY20" fmla="*/ 13825 h 66078"/>
                <a:gd name="connsiteX21" fmla="*/ 47774 w 57861"/>
                <a:gd name="connsiteY21" fmla="*/ 27521 h 66078"/>
                <a:gd name="connsiteX22" fmla="*/ 11424 w 57861"/>
                <a:gd name="connsiteY22" fmla="*/ 27521 h 66078"/>
                <a:gd name="connsiteX23" fmla="*/ 16226 w 57861"/>
                <a:gd name="connsiteY23" fmla="*/ 14775 h 6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61" h="66078">
                  <a:moveTo>
                    <a:pt x="45406" y="3738"/>
                  </a:moveTo>
                  <a:cubicBezTo>
                    <a:pt x="41345" y="1241"/>
                    <a:pt x="36399" y="0"/>
                    <a:pt x="30566" y="0"/>
                  </a:cubicBezTo>
                  <a:cubicBezTo>
                    <a:pt x="24733" y="0"/>
                    <a:pt x="19158" y="1370"/>
                    <a:pt x="14582" y="4125"/>
                  </a:cubicBezTo>
                  <a:cubicBezTo>
                    <a:pt x="10022" y="6880"/>
                    <a:pt x="6445" y="10715"/>
                    <a:pt x="3867" y="15662"/>
                  </a:cubicBezTo>
                  <a:cubicBezTo>
                    <a:pt x="1289" y="20608"/>
                    <a:pt x="0" y="26473"/>
                    <a:pt x="0" y="33225"/>
                  </a:cubicBezTo>
                  <a:cubicBezTo>
                    <a:pt x="0" y="43456"/>
                    <a:pt x="2933" y="51496"/>
                    <a:pt x="8814" y="57329"/>
                  </a:cubicBezTo>
                  <a:cubicBezTo>
                    <a:pt x="14695" y="63162"/>
                    <a:pt x="22703" y="66079"/>
                    <a:pt x="32854" y="66079"/>
                  </a:cubicBezTo>
                  <a:cubicBezTo>
                    <a:pt x="37511" y="66079"/>
                    <a:pt x="41958" y="65353"/>
                    <a:pt x="46244" y="63919"/>
                  </a:cubicBezTo>
                  <a:cubicBezTo>
                    <a:pt x="50514" y="62485"/>
                    <a:pt x="54091" y="60455"/>
                    <a:pt x="56959" y="57829"/>
                  </a:cubicBezTo>
                  <a:lnTo>
                    <a:pt x="53156" y="49837"/>
                  </a:lnTo>
                  <a:cubicBezTo>
                    <a:pt x="50111" y="52367"/>
                    <a:pt x="46937" y="54187"/>
                    <a:pt x="43649" y="55299"/>
                  </a:cubicBezTo>
                  <a:cubicBezTo>
                    <a:pt x="40346" y="56395"/>
                    <a:pt x="36802" y="56943"/>
                    <a:pt x="32999" y="56943"/>
                  </a:cubicBezTo>
                  <a:cubicBezTo>
                    <a:pt x="26151" y="56943"/>
                    <a:pt x="20802" y="54961"/>
                    <a:pt x="16951" y="50981"/>
                  </a:cubicBezTo>
                  <a:cubicBezTo>
                    <a:pt x="13277" y="47178"/>
                    <a:pt x="11376" y="41635"/>
                    <a:pt x="11214" y="34369"/>
                  </a:cubicBezTo>
                  <a:lnTo>
                    <a:pt x="57861" y="34369"/>
                  </a:lnTo>
                  <a:lnTo>
                    <a:pt x="57861" y="30566"/>
                  </a:lnTo>
                  <a:cubicBezTo>
                    <a:pt x="57861" y="24314"/>
                    <a:pt x="56798" y="18900"/>
                    <a:pt x="54687" y="14324"/>
                  </a:cubicBezTo>
                  <a:cubicBezTo>
                    <a:pt x="52576" y="9764"/>
                    <a:pt x="49482" y="6236"/>
                    <a:pt x="45422" y="3738"/>
                  </a:cubicBezTo>
                  <a:close/>
                  <a:moveTo>
                    <a:pt x="16226" y="14775"/>
                  </a:moveTo>
                  <a:cubicBezTo>
                    <a:pt x="19609" y="10506"/>
                    <a:pt x="24379" y="8363"/>
                    <a:pt x="30566" y="8363"/>
                  </a:cubicBezTo>
                  <a:cubicBezTo>
                    <a:pt x="36238" y="8363"/>
                    <a:pt x="40524" y="10183"/>
                    <a:pt x="43440" y="13825"/>
                  </a:cubicBezTo>
                  <a:cubicBezTo>
                    <a:pt x="46115" y="17144"/>
                    <a:pt x="47549" y="21720"/>
                    <a:pt x="47774" y="27521"/>
                  </a:cubicBezTo>
                  <a:lnTo>
                    <a:pt x="11424" y="27521"/>
                  </a:lnTo>
                  <a:cubicBezTo>
                    <a:pt x="12004" y="22348"/>
                    <a:pt x="13599" y="18095"/>
                    <a:pt x="16226" y="14775"/>
                  </a:cubicBezTo>
                  <a:close/>
                </a:path>
              </a:pathLst>
            </a:custGeom>
            <a:grpFill/>
            <a:ln w="1606" cap="flat">
              <a:noFill/>
              <a:prstDash val="solid"/>
              <a:miter/>
            </a:ln>
          </p:spPr>
          <p:txBody>
            <a:bodyPr rtlCol="0" anchor="ctr"/>
            <a:lstStyle/>
            <a:p>
              <a:endParaRPr lang="en-US"/>
            </a:p>
          </p:txBody>
        </p:sp>
      </p:grpSp>
      <p:sp>
        <p:nvSpPr>
          <p:cNvPr id="12" name="Text Placeholder 15">
            <a:extLst>
              <a:ext uri="{FF2B5EF4-FFF2-40B4-BE49-F238E27FC236}">
                <a16:creationId xmlns:a16="http://schemas.microsoft.com/office/drawing/2014/main" id="{EDF290E9-F8D1-11C6-069F-E655446215A0}"/>
              </a:ext>
            </a:extLst>
          </p:cNvPr>
          <p:cNvSpPr>
            <a:spLocks noGrp="1"/>
          </p:cNvSpPr>
          <p:nvPr>
            <p:ph type="body" sz="quarter" idx="13" hasCustomPrompt="1"/>
          </p:nvPr>
        </p:nvSpPr>
        <p:spPr>
          <a:xfrm>
            <a:off x="541338" y="1009185"/>
            <a:ext cx="11107738" cy="256054"/>
          </a:xfrm>
        </p:spPr>
        <p:txBody>
          <a:bodyPr/>
          <a:lstStyle>
            <a:lvl1pPr>
              <a:lnSpc>
                <a:spcPct val="90000"/>
              </a:lnSpc>
              <a:defRPr sz="2400" b="0">
                <a:solidFill>
                  <a:schemeClr val="accent4"/>
                </a:solidFill>
                <a:latin typeface="+mj-lt"/>
              </a:defRPr>
            </a:lvl1pPr>
          </a:lstStyle>
          <a:p>
            <a:pPr lvl="0"/>
            <a:r>
              <a:rPr lang="en-GB" dirty="0"/>
              <a:t>Click to add subtitle</a:t>
            </a:r>
          </a:p>
        </p:txBody>
      </p:sp>
      <p:sp>
        <p:nvSpPr>
          <p:cNvPr id="13" name="Title 12">
            <a:extLst>
              <a:ext uri="{FF2B5EF4-FFF2-40B4-BE49-F238E27FC236}">
                <a16:creationId xmlns:a16="http://schemas.microsoft.com/office/drawing/2014/main" id="{7A6C4B58-49FF-A0AE-949A-4AC26F07C976}"/>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2" name="Date Placeholder 1">
            <a:extLst>
              <a:ext uri="{FF2B5EF4-FFF2-40B4-BE49-F238E27FC236}">
                <a16:creationId xmlns:a16="http://schemas.microsoft.com/office/drawing/2014/main" id="{1FD90C12-CE75-5512-BEB0-A5BC4135D838}"/>
              </a:ext>
            </a:extLst>
          </p:cNvPr>
          <p:cNvSpPr>
            <a:spLocks noGrp="1"/>
          </p:cNvSpPr>
          <p:nvPr>
            <p:ph type="dt" sz="half" idx="14"/>
          </p:nvPr>
        </p:nvSpPr>
        <p:spPr/>
        <p:txBody>
          <a:bodyPr/>
          <a:lstStyle>
            <a:lvl1pPr>
              <a:defRPr>
                <a:solidFill>
                  <a:schemeClr val="bg1"/>
                </a:solidFill>
              </a:defRPr>
            </a:lvl1pPr>
          </a:lstStyle>
          <a:p>
            <a:fld id="{BEB22B47-D53E-4036-966D-BBC0284ADB56}" type="datetimeFigureOut">
              <a:rPr lang="en-US" smtClean="0"/>
              <a:pPr/>
              <a:t>3/13/26</a:t>
            </a:fld>
            <a:endParaRPr lang="en-US"/>
          </a:p>
        </p:txBody>
      </p:sp>
      <p:sp>
        <p:nvSpPr>
          <p:cNvPr id="3" name="Footer Placeholder 2">
            <a:extLst>
              <a:ext uri="{FF2B5EF4-FFF2-40B4-BE49-F238E27FC236}">
                <a16:creationId xmlns:a16="http://schemas.microsoft.com/office/drawing/2014/main" id="{CF12E343-BEDE-4FE0-1665-2C41553DFE3E}"/>
              </a:ext>
            </a:extLst>
          </p:cNvPr>
          <p:cNvSpPr>
            <a:spLocks noGrp="1"/>
          </p:cNvSpPr>
          <p:nvPr>
            <p:ph type="ftr" sz="quarter" idx="15"/>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31641BEC-CB30-60B8-1F27-DF69A5465E69}"/>
              </a:ext>
            </a:extLst>
          </p:cNvPr>
          <p:cNvSpPr>
            <a:spLocks noGrp="1"/>
          </p:cNvSpPr>
          <p:nvPr>
            <p:ph type="sldNum" sz="quarter" idx="16"/>
          </p:nvPr>
        </p:nvSpPr>
        <p:spPr/>
        <p:txBody>
          <a:bodyPr/>
          <a:lstStyle>
            <a:lvl1pPr>
              <a:defRPr>
                <a:solidFill>
                  <a:schemeClr val="bg1"/>
                </a:solidFill>
              </a:defRPr>
            </a:lvl1pPr>
          </a:lstStyle>
          <a:p>
            <a:fld id="{CAD289FC-94DA-414F-BF09-0C2EF808B77F}" type="slidenum">
              <a:rPr lang="en-US" smtClean="0"/>
              <a:pPr/>
              <a:t>‹#›</a:t>
            </a:fld>
            <a:endParaRPr lang="en-US"/>
          </a:p>
        </p:txBody>
      </p:sp>
      <p:sp>
        <p:nvSpPr>
          <p:cNvPr id="5" name="TextBox 4">
            <a:extLst>
              <a:ext uri="{FF2B5EF4-FFF2-40B4-BE49-F238E27FC236}">
                <a16:creationId xmlns:a16="http://schemas.microsoft.com/office/drawing/2014/main" id="{6F63DE93-6D87-D511-3039-1BFD4A696B7A}"/>
              </a:ext>
            </a:extLst>
          </p:cNvPr>
          <p:cNvSpPr txBox="1"/>
          <p:nvPr/>
        </p:nvSpPr>
        <p:spPr>
          <a:xfrm>
            <a:off x="545524" y="-338593"/>
            <a:ext cx="1544525"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title only</a:t>
            </a:r>
          </a:p>
        </p:txBody>
      </p:sp>
      <p:cxnSp>
        <p:nvCxnSpPr>
          <p:cNvPr id="8" name="Straight Connector 7">
            <a:extLst>
              <a:ext uri="{FF2B5EF4-FFF2-40B4-BE49-F238E27FC236}">
                <a16:creationId xmlns:a16="http://schemas.microsoft.com/office/drawing/2014/main" id="{ED0798E3-ECFB-414B-989D-E12B9BD4C9A9}"/>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E43D00F3-C861-57E2-FD6D-002B0B305EEE}"/>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BD174AB-DCF7-CD6E-B31D-F9F7C6E543C7}"/>
              </a:ext>
            </a:extLst>
          </p:cNvPr>
          <p:cNvSpPr txBox="1"/>
          <p:nvPr userDrawn="1"/>
        </p:nvSpPr>
        <p:spPr>
          <a:xfrm>
            <a:off x="900000" y="6408000"/>
            <a:ext cx="271188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chemeClr val="bg1"/>
                </a:solidFill>
                <a:effectLst/>
                <a:uLnTx/>
                <a:uFillTx/>
                <a:latin typeface="Aptos Regular"/>
                <a:ea typeface="+mn-ea"/>
                <a:cs typeface="+mn-cs"/>
              </a:rPr>
              <a:t>SES Space &amp; </a:t>
            </a:r>
            <a:r>
              <a:rPr kumimoji="0" lang="en-GB" sz="800" b="0" i="0" u="none" strike="noStrike" kern="1200" cap="none" spc="0" normalizeH="0" baseline="0" noProof="0" dirty="0" err="1">
                <a:ln>
                  <a:noFill/>
                </a:ln>
                <a:solidFill>
                  <a:schemeClr val="bg1"/>
                </a:solidFill>
                <a:effectLst/>
                <a:uLnTx/>
                <a:uFillTx/>
                <a:latin typeface="Aptos Regular"/>
                <a:ea typeface="+mn-ea"/>
                <a:cs typeface="+mn-cs"/>
              </a:rPr>
              <a:t>Defense</a:t>
            </a:r>
            <a:r>
              <a:rPr kumimoji="0" lang="en-GB" sz="800" b="0" i="0" u="none" strike="noStrike" kern="1200" cap="none" spc="0" normalizeH="0" baseline="0" noProof="0" dirty="0">
                <a:ln>
                  <a:noFill/>
                </a:ln>
                <a:solidFill>
                  <a:schemeClr val="bg1"/>
                </a:solidFill>
                <a:effectLst/>
                <a:uLnTx/>
                <a:uFillTx/>
                <a:latin typeface="Aptos Regular"/>
                <a:ea typeface="+mn-ea"/>
                <a:cs typeface="+mn-cs"/>
              </a:rPr>
              <a:t> </a:t>
            </a:r>
            <a:endParaRPr lang="en-GB" sz="800" dirty="0">
              <a:solidFill>
                <a:schemeClr val="bg1"/>
              </a:solidFill>
            </a:endParaRPr>
          </a:p>
        </p:txBody>
      </p:sp>
    </p:spTree>
    <p:extLst>
      <p:ext uri="{BB962C8B-B14F-4D97-AF65-F5344CB8AC3E}">
        <p14:creationId xmlns:p14="http://schemas.microsoft.com/office/powerpoint/2010/main" val="70088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4996BE-5497-D5CF-F89F-061F29AEFC49}"/>
              </a:ext>
            </a:extLst>
          </p:cNvPr>
          <p:cNvSpPr>
            <a:spLocks noGrp="1"/>
          </p:cNvSpPr>
          <p:nvPr>
            <p:ph type="dt" sz="half" idx="10"/>
          </p:nvPr>
        </p:nvSpPr>
        <p:spPr/>
        <p:txBody>
          <a:bodyPr/>
          <a:lstStyle/>
          <a:p>
            <a:fld id="{BEB22B47-D53E-4036-966D-BBC0284ADB56}" type="datetimeFigureOut">
              <a:rPr lang="en-US" smtClean="0"/>
              <a:t>3/13/26</a:t>
            </a:fld>
            <a:endParaRPr lang="en-US"/>
          </a:p>
        </p:txBody>
      </p:sp>
      <p:sp>
        <p:nvSpPr>
          <p:cNvPr id="3" name="Footer Placeholder 2">
            <a:extLst>
              <a:ext uri="{FF2B5EF4-FFF2-40B4-BE49-F238E27FC236}">
                <a16:creationId xmlns:a16="http://schemas.microsoft.com/office/drawing/2014/main" id="{654BB36A-A99A-17AD-F92D-002CB55F722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14558F5-3156-9532-7B51-41B9FD07A2A2}"/>
              </a:ext>
            </a:extLst>
          </p:cNvPr>
          <p:cNvSpPr>
            <a:spLocks noGrp="1"/>
          </p:cNvSpPr>
          <p:nvPr>
            <p:ph type="sldNum" sz="quarter" idx="12"/>
          </p:nvPr>
        </p:nvSpPr>
        <p:spPr/>
        <p:txBody>
          <a:bodyPr/>
          <a:lstStyle/>
          <a:p>
            <a:fld id="{CAD289FC-94DA-414F-BF09-0C2EF808B77F}" type="slidenum">
              <a:rPr lang="en-US" smtClean="0"/>
              <a:t>‹#›</a:t>
            </a:fld>
            <a:endParaRPr lang="en-US"/>
          </a:p>
        </p:txBody>
      </p:sp>
      <p:sp>
        <p:nvSpPr>
          <p:cNvPr id="5" name="TextBox 4">
            <a:extLst>
              <a:ext uri="{FF2B5EF4-FFF2-40B4-BE49-F238E27FC236}">
                <a16:creationId xmlns:a16="http://schemas.microsoft.com/office/drawing/2014/main" id="{67C68B65-19AA-39F7-F7A5-6EDDAC125EB2}"/>
              </a:ext>
            </a:extLst>
          </p:cNvPr>
          <p:cNvSpPr txBox="1"/>
          <p:nvPr/>
        </p:nvSpPr>
        <p:spPr>
          <a:xfrm>
            <a:off x="545524" y="-338593"/>
            <a:ext cx="1344151" cy="184666"/>
          </a:xfrm>
          <a:prstGeom prst="rect">
            <a:avLst/>
          </a:prstGeom>
          <a:noFill/>
        </p:spPr>
        <p:txBody>
          <a:bodyPr wrap="none" lIns="0" tIns="0" rIns="0" bIns="0" rtlCol="0">
            <a:spAutoFit/>
          </a:bodyPr>
          <a:lstStyle/>
          <a:p>
            <a:r>
              <a:rPr lang="en-GB" sz="1200" b="1" dirty="0">
                <a:solidFill>
                  <a:schemeClr val="accent1"/>
                </a:solidFill>
              </a:rPr>
              <a:t>Content slide</a:t>
            </a:r>
            <a:r>
              <a:rPr lang="en-GB" sz="1200" dirty="0">
                <a:solidFill>
                  <a:schemeClr val="accent1"/>
                </a:solidFill>
              </a:rPr>
              <a:t> blank</a:t>
            </a:r>
          </a:p>
        </p:txBody>
      </p:sp>
      <p:cxnSp>
        <p:nvCxnSpPr>
          <p:cNvPr id="11" name="Straight Connector 10">
            <a:extLst>
              <a:ext uri="{FF2B5EF4-FFF2-40B4-BE49-F238E27FC236}">
                <a16:creationId xmlns:a16="http://schemas.microsoft.com/office/drawing/2014/main" id="{892CD46C-7250-8743-3629-D52B03A520A5}"/>
              </a:ext>
            </a:extLst>
          </p:cNvPr>
          <p:cNvCxnSpPr>
            <a:cxnSpLocks/>
          </p:cNvCxnSpPr>
          <p:nvPr/>
        </p:nvCxnSpPr>
        <p:spPr>
          <a:xfrm flipV="1">
            <a:off x="116502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F9C4A73-C028-3024-0F0A-E9C2A44F4A2F}"/>
              </a:ext>
            </a:extLst>
          </p:cNvPr>
          <p:cNvCxnSpPr>
            <a:cxnSpLocks/>
          </p:cNvCxnSpPr>
          <p:nvPr/>
        </p:nvCxnSpPr>
        <p:spPr>
          <a:xfrm flipV="1">
            <a:off x="538163"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6978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9CB63E-38B8-FE5B-666A-D9CAD75A24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5B96BE-BEFA-47C5-B5F6-07D5B53EFBEF}"/>
              </a:ext>
            </a:extLst>
          </p:cNvPr>
          <p:cNvSpPr>
            <a:spLocks noGrp="1"/>
          </p:cNvSpPr>
          <p:nvPr>
            <p:ph type="title" hasCustomPrompt="1"/>
          </p:nvPr>
        </p:nvSpPr>
        <p:spPr>
          <a:xfrm>
            <a:off x="0" y="-660400"/>
            <a:ext cx="12192000" cy="638175"/>
          </a:xfrm>
        </p:spPr>
        <p:txBody>
          <a:bodyPr/>
          <a:lstStyle>
            <a:lvl1pPr>
              <a:defRPr sz="3600">
                <a:solidFill>
                  <a:schemeClr val="bg1">
                    <a:lumMod val="65000"/>
                    <a:lumOff val="35000"/>
                  </a:schemeClr>
                </a:solidFill>
              </a:defRPr>
            </a:lvl1pPr>
          </a:lstStyle>
          <a:p>
            <a:r>
              <a:rPr lang="en-US"/>
              <a:t>Walk-in layout</a:t>
            </a:r>
          </a:p>
        </p:txBody>
      </p:sp>
      <p:pic>
        <p:nvPicPr>
          <p:cNvPr id="6" name="Graphic 5">
            <a:extLst>
              <a:ext uri="{FF2B5EF4-FFF2-40B4-BE49-F238E27FC236}">
                <a16:creationId xmlns:a16="http://schemas.microsoft.com/office/drawing/2014/main" id="{8417F2A1-98C3-4830-9E59-A97205CFBCD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512" y="2678010"/>
            <a:ext cx="3392027" cy="1093890"/>
          </a:xfrm>
          <a:prstGeom prst="rect">
            <a:avLst/>
          </a:prstGeom>
        </p:spPr>
      </p:pic>
    </p:spTree>
    <p:extLst>
      <p:ext uri="{BB962C8B-B14F-4D97-AF65-F5344CB8AC3E}">
        <p14:creationId xmlns:p14="http://schemas.microsoft.com/office/powerpoint/2010/main" val="3270448653"/>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38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E63CA-85EA-4FDC-89AE-D9E9225786BC}"/>
              </a:ext>
            </a:extLst>
          </p:cNvPr>
          <p:cNvSpPr>
            <a:spLocks noGrp="1"/>
          </p:cNvSpPr>
          <p:nvPr>
            <p:ph type="title"/>
          </p:nvPr>
        </p:nvSpPr>
        <p:spPr/>
        <p:txBody>
          <a:bodyPr/>
          <a:lstStyle/>
          <a:p>
            <a:r>
              <a:rPr lang="en-US"/>
              <a:t>Click to edit Master title style</a:t>
            </a:r>
            <a:endParaRPr lang="en-GB" dirty="0"/>
          </a:p>
        </p:txBody>
      </p:sp>
      <p:sp>
        <p:nvSpPr>
          <p:cNvPr id="9" name="Date Placeholder 8">
            <a:extLst>
              <a:ext uri="{FF2B5EF4-FFF2-40B4-BE49-F238E27FC236}">
                <a16:creationId xmlns:a16="http://schemas.microsoft.com/office/drawing/2014/main" id="{F2F8D085-F647-4B93-ABFE-A60DF5BA4982}"/>
              </a:ext>
            </a:extLst>
          </p:cNvPr>
          <p:cNvSpPr>
            <a:spLocks noGrp="1"/>
          </p:cNvSpPr>
          <p:nvPr>
            <p:ph type="dt" sz="half" idx="10"/>
          </p:nvPr>
        </p:nvSpPr>
        <p:spPr/>
        <p:txBody>
          <a:bodyPr/>
          <a:lstStyle/>
          <a:p>
            <a:fld id="{77C864CA-8345-493D-BFEF-DC4CF4278DFA}" type="datetime1">
              <a:rPr lang="en-US" smtClean="0"/>
              <a:t>3/13/26</a:t>
            </a:fld>
            <a:endParaRPr lang="en-GB" dirty="0"/>
          </a:p>
        </p:txBody>
      </p:sp>
      <p:sp>
        <p:nvSpPr>
          <p:cNvPr id="10" name="Footer Placeholder 9">
            <a:extLst>
              <a:ext uri="{FF2B5EF4-FFF2-40B4-BE49-F238E27FC236}">
                <a16:creationId xmlns:a16="http://schemas.microsoft.com/office/drawing/2014/main" id="{F5A68627-4DC8-4BBE-A1ED-416CE84C55CD}"/>
              </a:ext>
            </a:extLst>
          </p:cNvPr>
          <p:cNvSpPr>
            <a:spLocks noGrp="1"/>
          </p:cNvSpPr>
          <p:nvPr>
            <p:ph type="ftr" sz="quarter" idx="11"/>
          </p:nvPr>
        </p:nvSpPr>
        <p:spPr/>
        <p:txBody>
          <a:bodyPr/>
          <a:lstStyle/>
          <a:p>
            <a:r>
              <a:rPr lang="en-GB" dirty="0"/>
              <a:t>[Presentation title in footer]</a:t>
            </a:r>
          </a:p>
        </p:txBody>
      </p:sp>
      <p:sp>
        <p:nvSpPr>
          <p:cNvPr id="11" name="Slide Number Placeholder 10">
            <a:extLst>
              <a:ext uri="{FF2B5EF4-FFF2-40B4-BE49-F238E27FC236}">
                <a16:creationId xmlns:a16="http://schemas.microsoft.com/office/drawing/2014/main" id="{CC0CB15F-A3D2-4FB6-9BA0-192E0CA069B6}"/>
              </a:ext>
            </a:extLst>
          </p:cNvPr>
          <p:cNvSpPr>
            <a:spLocks noGrp="1"/>
          </p:cNvSpPr>
          <p:nvPr>
            <p:ph type="sldNum" sz="quarter" idx="12"/>
          </p:nvPr>
        </p:nvSpPr>
        <p:spPr/>
        <p:txBody>
          <a:bodyPr/>
          <a:lstStyle/>
          <a:p>
            <a:fld id="{020A4007-B15C-4364-BF0A-8D607DB62D85}" type="slidenum">
              <a:rPr lang="en-GB" smtClean="0"/>
              <a:pPr/>
              <a:t>‹#›</a:t>
            </a:fld>
            <a:endParaRPr lang="en-GB" dirty="0"/>
          </a:p>
        </p:txBody>
      </p:sp>
    </p:spTree>
    <p:extLst>
      <p:ext uri="{BB962C8B-B14F-4D97-AF65-F5344CB8AC3E}">
        <p14:creationId xmlns:p14="http://schemas.microsoft.com/office/powerpoint/2010/main" val="66271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A2C6C5-52CD-21BC-0C46-58751D26AE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8"/>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pic>
        <p:nvPicPr>
          <p:cNvPr id="11" name="Picture 10">
            <a:extLst>
              <a:ext uri="{FF2B5EF4-FFF2-40B4-BE49-F238E27FC236}">
                <a16:creationId xmlns:a16="http://schemas.microsoft.com/office/drawing/2014/main" id="{C8FDA763-3CFE-4A8E-A7A4-4971BDA42D9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40902952"/>
      </p:ext>
    </p:extLst>
  </p:cSld>
  <p:clrMapOvr>
    <a:masterClrMapping/>
  </p:clrMapOvr>
  <p:transition>
    <p:fade/>
  </p:transition>
  <p:extLst>
    <p:ext uri="{DCECCB84-F9BA-43D5-87BE-67443E8EF086}">
      <p15:sldGuideLst xmlns:p15="http://schemas.microsoft.com/office/powerpoint/2012/main">
        <p15:guide id="1" pos="2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Two Speaker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55355-518E-A9CA-29FB-FFBD27B358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7"/>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4456766" y="4692846"/>
            <a:ext cx="370232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a:t>Speaker name</a:t>
            </a:r>
          </a:p>
        </p:txBody>
      </p:sp>
      <p:sp>
        <p:nvSpPr>
          <p:cNvPr id="6" name="Text Placeholder 5">
            <a:extLst>
              <a:ext uri="{FF2B5EF4-FFF2-40B4-BE49-F238E27FC236}">
                <a16:creationId xmlns:a16="http://schemas.microsoft.com/office/drawing/2014/main" id="{79AE8770-95C8-4BFC-8D8E-818B753038EA}"/>
              </a:ext>
            </a:extLst>
          </p:cNvPr>
          <p:cNvSpPr>
            <a:spLocks noGrp="1"/>
          </p:cNvSpPr>
          <p:nvPr>
            <p:ph type="body" sz="quarter" idx="14" hasCustomPrompt="1"/>
          </p:nvPr>
        </p:nvSpPr>
        <p:spPr>
          <a:xfrm>
            <a:off x="4456766" y="5066907"/>
            <a:ext cx="3702329" cy="757130"/>
          </a:xfrm>
        </p:spPr>
        <p:txBody>
          <a:bodyPr/>
          <a:lstStyle>
            <a:lvl1pPr marL="0" indent="0">
              <a:spcAft>
                <a:spcPts val="300"/>
              </a:spcAft>
              <a:buNone/>
              <a:defRPr sz="1600"/>
            </a:lvl1pPr>
          </a:lstStyle>
          <a:p>
            <a:pPr lvl="0"/>
            <a:r>
              <a:rPr lang="en-US"/>
              <a:t>(pronouns)</a:t>
            </a:r>
            <a:br>
              <a:rPr lang="en-US"/>
            </a:br>
            <a:r>
              <a:rPr lang="en-US"/>
              <a:t>Job title</a:t>
            </a:r>
            <a:br>
              <a:rPr lang="en-US"/>
            </a:br>
            <a:r>
              <a:rPr lang="en-US"/>
              <a:t>Company</a:t>
            </a:r>
          </a:p>
        </p:txBody>
      </p:sp>
      <p:pic>
        <p:nvPicPr>
          <p:cNvPr id="13" name="Picture 12">
            <a:extLst>
              <a:ext uri="{FF2B5EF4-FFF2-40B4-BE49-F238E27FC236}">
                <a16:creationId xmlns:a16="http://schemas.microsoft.com/office/drawing/2014/main" id="{BEAD6224-65DB-4349-8ABF-C9D9E063E265}"/>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24163453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Three Speaker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B77736-F964-9E03-7D10-969905EB76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7" y="4692846"/>
            <a:ext cx="2661369" cy="369332"/>
          </a:xfrm>
        </p:spPr>
        <p:txBody>
          <a:bodyPr/>
          <a:lstStyle>
            <a:lvl1pPr marL="0" indent="0">
              <a:buNone/>
              <a:defRPr sz="2000" b="1" cap="none" spc="0" baseline="0"/>
            </a:lvl1pPr>
          </a:lstStyle>
          <a:p>
            <a:pPr lvl="0"/>
            <a:r>
              <a:rPr lang="en-US"/>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7"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3129724" y="4692846"/>
            <a:ext cx="266136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a:t>Speaker name</a:t>
            </a:r>
          </a:p>
        </p:txBody>
      </p:sp>
      <p:sp>
        <p:nvSpPr>
          <p:cNvPr id="5" name="Text Placeholder 4">
            <a:extLst>
              <a:ext uri="{FF2B5EF4-FFF2-40B4-BE49-F238E27FC236}">
                <a16:creationId xmlns:a16="http://schemas.microsoft.com/office/drawing/2014/main" id="{A98773FF-A575-4D5D-AC30-DAFFB441F795}"/>
              </a:ext>
            </a:extLst>
          </p:cNvPr>
          <p:cNvSpPr>
            <a:spLocks noGrp="1"/>
          </p:cNvSpPr>
          <p:nvPr>
            <p:ph type="body" sz="quarter" idx="15" hasCustomPrompt="1"/>
          </p:nvPr>
        </p:nvSpPr>
        <p:spPr>
          <a:xfrm>
            <a:off x="5936531" y="4692846"/>
            <a:ext cx="2661369" cy="369332"/>
          </a:xfrm>
        </p:spPr>
        <p:txBody>
          <a:bodyPr/>
          <a:lstStyle>
            <a:lvl1pPr marL="0" indent="0">
              <a:buNone/>
              <a:defRPr sz="2000" b="1"/>
            </a:lvl1pPr>
          </a:lstStyle>
          <a:p>
            <a:pPr lvl="0"/>
            <a:r>
              <a:rPr lang="en-US"/>
              <a:t>Speaker name</a:t>
            </a:r>
          </a:p>
        </p:txBody>
      </p:sp>
      <p:sp>
        <p:nvSpPr>
          <p:cNvPr id="17" name="Text Placeholder 15">
            <a:extLst>
              <a:ext uri="{FF2B5EF4-FFF2-40B4-BE49-F238E27FC236}">
                <a16:creationId xmlns:a16="http://schemas.microsoft.com/office/drawing/2014/main" id="{E8B14D59-1495-4288-ACD8-22C48054FD10}"/>
              </a:ext>
            </a:extLst>
          </p:cNvPr>
          <p:cNvSpPr>
            <a:spLocks noGrp="1"/>
          </p:cNvSpPr>
          <p:nvPr>
            <p:ph type="body" sz="quarter" idx="16" hasCustomPrompt="1"/>
          </p:nvPr>
        </p:nvSpPr>
        <p:spPr>
          <a:xfrm>
            <a:off x="3129724"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sp>
        <p:nvSpPr>
          <p:cNvPr id="18" name="Text Placeholder 15">
            <a:extLst>
              <a:ext uri="{FF2B5EF4-FFF2-40B4-BE49-F238E27FC236}">
                <a16:creationId xmlns:a16="http://schemas.microsoft.com/office/drawing/2014/main" id="{ACBDE7C4-64AF-4CA5-A203-DC58B71673A5}"/>
              </a:ext>
            </a:extLst>
          </p:cNvPr>
          <p:cNvSpPr>
            <a:spLocks noGrp="1"/>
          </p:cNvSpPr>
          <p:nvPr>
            <p:ph type="body" sz="quarter" idx="17" hasCustomPrompt="1"/>
          </p:nvPr>
        </p:nvSpPr>
        <p:spPr>
          <a:xfrm>
            <a:off x="5936531"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pic>
        <p:nvPicPr>
          <p:cNvPr id="15" name="Picture 14">
            <a:extLst>
              <a:ext uri="{FF2B5EF4-FFF2-40B4-BE49-F238E27FC236}">
                <a16:creationId xmlns:a16="http://schemas.microsoft.com/office/drawing/2014/main" id="{A06CB43E-FDA1-4D97-9EDD-CEF236C9633A}"/>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9341197"/>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304800" y="1485900"/>
            <a:ext cx="11582400" cy="3570208"/>
          </a:xfrm>
        </p:spPr>
        <p:txBody>
          <a:bodyPr vert="horz" lIns="0" tIns="45720" rIns="0" bIns="45720" rtlCol="0">
            <a:spAutoFit/>
          </a:bodyPr>
          <a:lstStyle>
            <a:lvl1pPr marL="0" indent="0">
              <a:spcAft>
                <a:spcPts val="3000"/>
              </a:spcAft>
              <a:buNone/>
              <a:defRPr lang="en-US" smtClean="0"/>
            </a:lvl1pPr>
            <a:lvl2pPr marL="0" indent="0">
              <a:spcAft>
                <a:spcPts val="3000"/>
              </a:spcAft>
              <a:buNone/>
              <a:defRPr lang="en-US" sz="2800" smtClean="0"/>
            </a:lvl2pPr>
            <a:lvl3pPr marL="0" indent="0">
              <a:spcAft>
                <a:spcPts val="3000"/>
              </a:spcAft>
              <a:buNone/>
              <a:defRPr lang="en-US" sz="2800" smtClean="0"/>
            </a:lvl3pPr>
            <a:lvl4pPr marL="0" indent="0">
              <a:spcAft>
                <a:spcPts val="3000"/>
              </a:spcAft>
              <a:buNone/>
              <a:defRPr lang="en-US" sz="2800" smtClean="0"/>
            </a:lvl4pPr>
            <a:lvl5pPr marL="0" indent="0">
              <a:spcAft>
                <a:spcPts val="3000"/>
              </a:spcAft>
              <a:buNone/>
              <a:defRPr lang="en-US" sz="2800"/>
            </a:lvl5pPr>
          </a:lstStyle>
          <a:p>
            <a:pPr marL="228600" lvl="0" indent="-228600">
              <a:spcAft>
                <a:spcPts val="3000"/>
              </a:spcAft>
              <a:buClr>
                <a:schemeClr val="tx1"/>
              </a:buClr>
            </a:pPr>
            <a:r>
              <a:rPr lang="en-US"/>
              <a:t>Enter agenda items</a:t>
            </a:r>
          </a:p>
          <a:p>
            <a:pPr marL="457200" lvl="1" indent="-457200">
              <a:spcAft>
                <a:spcPts val="3000"/>
              </a:spcAft>
              <a:buClr>
                <a:schemeClr val="tx1"/>
              </a:buClr>
            </a:pPr>
            <a:r>
              <a:rPr lang="en-US"/>
              <a:t>Second level</a:t>
            </a:r>
          </a:p>
          <a:p>
            <a:pPr marL="457200" lvl="2" indent="-457200">
              <a:spcAft>
                <a:spcPts val="3000"/>
              </a:spcAft>
              <a:buClr>
                <a:schemeClr val="tx1"/>
              </a:buClr>
            </a:pPr>
            <a:r>
              <a:rPr lang="en-US"/>
              <a:t>Third level</a:t>
            </a:r>
          </a:p>
          <a:p>
            <a:pPr marL="457200" lvl="3" indent="-457200">
              <a:spcAft>
                <a:spcPts val="3000"/>
              </a:spcAft>
              <a:buClr>
                <a:schemeClr val="tx1"/>
              </a:buClr>
            </a:pPr>
            <a:r>
              <a:rPr lang="en-US"/>
              <a:t>Fourth level</a:t>
            </a:r>
          </a:p>
          <a:p>
            <a:pPr marL="457200" lvl="4" indent="-457200">
              <a:spcAft>
                <a:spcPts val="3000"/>
              </a:spcAft>
              <a:buClr>
                <a:schemeClr val="tx1"/>
              </a:buClr>
            </a:pPr>
            <a:r>
              <a:rPr lang="en-US"/>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304800" y="304800"/>
            <a:ext cx="11582400" cy="638175"/>
          </a:xfrm>
        </p:spPr>
        <p:txBody>
          <a:bodyPr/>
          <a:lstStyle>
            <a:lvl1pPr>
              <a:defRPr/>
            </a:lvl1pPr>
          </a:lstStyle>
          <a:p>
            <a:r>
              <a:rPr lang="en-US"/>
              <a:t>Agenda layout</a:t>
            </a:r>
          </a:p>
        </p:txBody>
      </p:sp>
      <p:pic>
        <p:nvPicPr>
          <p:cNvPr id="7" name="Picture 6">
            <a:extLst>
              <a:ext uri="{FF2B5EF4-FFF2-40B4-BE49-F238E27FC236}">
                <a16:creationId xmlns:a16="http://schemas.microsoft.com/office/drawing/2014/main" id="{D4BF8F3F-C59D-447F-A18C-4F458C5EF4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3185307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a:t>Title only layout</a:t>
            </a:r>
          </a:p>
        </p:txBody>
      </p:sp>
      <p:pic>
        <p:nvPicPr>
          <p:cNvPr id="5" name="Picture 4">
            <a:extLst>
              <a:ext uri="{FF2B5EF4-FFF2-40B4-BE49-F238E27FC236}">
                <a16:creationId xmlns:a16="http://schemas.microsoft.com/office/drawing/2014/main" id="{402F0F9B-4E5D-4C0C-B506-59FB29965EB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620427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with 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5508CC-A87F-2A21-7F3F-FB80671107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a:t>Title only layout with art</a:t>
            </a:r>
          </a:p>
        </p:txBody>
      </p:sp>
      <p:sp>
        <p:nvSpPr>
          <p:cNvPr id="5" name="TextBox 3">
            <a:extLst>
              <a:ext uri="{FF2B5EF4-FFF2-40B4-BE49-F238E27FC236}">
                <a16:creationId xmlns:a16="http://schemas.microsoft.com/office/drawing/2014/main" id="{84A0FAA4-F370-4554-963C-0621DBAE900C}"/>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6" name="Picture 5">
            <a:extLst>
              <a:ext uri="{FF2B5EF4-FFF2-40B4-BE49-F238E27FC236}">
                <a16:creationId xmlns:a16="http://schemas.microsoft.com/office/drawing/2014/main" id="{8DD82C82-FAA4-4457-8019-A527148D48D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4181026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a:t>Title and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pic>
        <p:nvPicPr>
          <p:cNvPr id="6" name="Picture 5">
            <a:extLst>
              <a:ext uri="{FF2B5EF4-FFF2-40B4-BE49-F238E27FC236}">
                <a16:creationId xmlns:a16="http://schemas.microsoft.com/office/drawing/2014/main" id="{EAC6A24E-644A-47D1-A743-FAAB09271A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964669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BD4D8D4-CAB7-30A9-E0D1-FF90E1042C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26" name="Title 1">
            <a:extLst>
              <a:ext uri="{FF2B5EF4-FFF2-40B4-BE49-F238E27FC236}">
                <a16:creationId xmlns:a16="http://schemas.microsoft.com/office/drawing/2014/main" id="{569C7664-82A9-5052-F0A8-628B5EC1FF9F}"/>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dirty="0"/>
              <a:t>Enter title</a:t>
            </a:r>
          </a:p>
        </p:txBody>
      </p:sp>
      <p:sp>
        <p:nvSpPr>
          <p:cNvPr id="27" name="Subtitle 2">
            <a:extLst>
              <a:ext uri="{FF2B5EF4-FFF2-40B4-BE49-F238E27FC236}">
                <a16:creationId xmlns:a16="http://schemas.microsoft.com/office/drawing/2014/main" id="{2D618EEC-4A1A-A00D-AD68-4F5B68B6D4F5}"/>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28" name="Text Placeholder 7">
            <a:extLst>
              <a:ext uri="{FF2B5EF4-FFF2-40B4-BE49-F238E27FC236}">
                <a16:creationId xmlns:a16="http://schemas.microsoft.com/office/drawing/2014/main" id="{E526B1CC-9B8A-5332-5E7A-2D85E8BF6F33}"/>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a:t>Enter session ID if required</a:t>
            </a:r>
          </a:p>
        </p:txBody>
      </p:sp>
      <p:sp>
        <p:nvSpPr>
          <p:cNvPr id="34" name="Text Placeholder 11">
            <a:extLst>
              <a:ext uri="{FF2B5EF4-FFF2-40B4-BE49-F238E27FC236}">
                <a16:creationId xmlns:a16="http://schemas.microsoft.com/office/drawing/2014/main" id="{CC6394AE-9889-3497-D2CF-B3A13B83B639}"/>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35" name="Text Placeholder 15">
            <a:extLst>
              <a:ext uri="{FF2B5EF4-FFF2-40B4-BE49-F238E27FC236}">
                <a16:creationId xmlns:a16="http://schemas.microsoft.com/office/drawing/2014/main" id="{4558D9E7-4CE8-14F0-81B1-BC0FB89484F5}"/>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a:t>(pronouns)</a:t>
            </a:r>
          </a:p>
          <a:p>
            <a:pPr lvl="0"/>
            <a:r>
              <a:rPr lang="en-US"/>
              <a:t>Job title</a:t>
            </a:r>
          </a:p>
          <a:p>
            <a:pPr lvl="0"/>
            <a:r>
              <a:rPr lang="en-US"/>
              <a:t>Company</a:t>
            </a:r>
          </a:p>
        </p:txBody>
      </p:sp>
      <p:sp>
        <p:nvSpPr>
          <p:cNvPr id="37" name="TextBox 3">
            <a:extLst>
              <a:ext uri="{FF2B5EF4-FFF2-40B4-BE49-F238E27FC236}">
                <a16:creationId xmlns:a16="http://schemas.microsoft.com/office/drawing/2014/main" id="{01052C03-B95C-1BE5-F474-CE55562E4053}"/>
              </a:ext>
            </a:extLst>
          </p:cNvPr>
          <p:cNvSpPr txBox="1">
            <a:spLocks noChangeArrowheads="1"/>
          </p:cNvSpPr>
          <p:nvPr userDrawn="1"/>
        </p:nvSpPr>
        <p:spPr bwMode="white">
          <a:xfrm>
            <a:off x="419101" y="6476853"/>
            <a:ext cx="4658982"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Tree>
    <p:extLst>
      <p:ext uri="{BB962C8B-B14F-4D97-AF65-F5344CB8AC3E}">
        <p14:creationId xmlns:p14="http://schemas.microsoft.com/office/powerpoint/2010/main" val="3122152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0" y="-647700"/>
            <a:ext cx="11925300" cy="638175"/>
          </a:xfrm>
        </p:spPr>
        <p:txBody>
          <a:bodyPr/>
          <a:lstStyle>
            <a:lvl1pPr>
              <a:defRPr sz="3600">
                <a:solidFill>
                  <a:schemeClr val="bg1">
                    <a:lumMod val="65000"/>
                    <a:lumOff val="35000"/>
                  </a:schemeClr>
                </a:solidFill>
              </a:defRPr>
            </a:lvl1pPr>
          </a:lstStyle>
          <a:p>
            <a:r>
              <a:rPr lang="en-US"/>
              <a:t>Blank layout (enter descriptive title here for accessibility)</a:t>
            </a:r>
          </a:p>
        </p:txBody>
      </p:sp>
      <p:pic>
        <p:nvPicPr>
          <p:cNvPr id="4" name="Picture 3">
            <a:extLst>
              <a:ext uri="{FF2B5EF4-FFF2-40B4-BE49-F238E27FC236}">
                <a16:creationId xmlns:a16="http://schemas.microsoft.com/office/drawing/2014/main" id="{28547A17-167C-4B7C-9EB3-78A50E0839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8087078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0D7547C9-19DE-47C5-B92E-D961CE0CDE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5810262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DEF8F-3F3F-4176-AAC6-6F214D9A9558}"/>
              </a:ext>
            </a:extLst>
          </p:cNvPr>
          <p:cNvSpPr>
            <a:spLocks noGrp="1"/>
          </p:cNvSpPr>
          <p:nvPr>
            <p:ph type="title" hasCustomPrompt="1"/>
          </p:nvPr>
        </p:nvSpPr>
        <p:spPr>
          <a:xfrm>
            <a:off x="304800" y="304800"/>
            <a:ext cx="5638800" cy="638175"/>
          </a:xfrm>
        </p:spPr>
        <p:txBody>
          <a:bodyPr/>
          <a:lstStyle>
            <a:lvl1pPr>
              <a:defRPr/>
            </a:lvl1pPr>
          </a:lstStyle>
          <a:p>
            <a:r>
              <a:rPr lang="en-US"/>
              <a:t>Title, content, image</a:t>
            </a:r>
          </a:p>
        </p:txBody>
      </p:sp>
      <p:sp>
        <p:nvSpPr>
          <p:cNvPr id="9" name="Picture Placeholder 8">
            <a:extLst>
              <a:ext uri="{FF2B5EF4-FFF2-40B4-BE49-F238E27FC236}">
                <a16:creationId xmlns:a16="http://schemas.microsoft.com/office/drawing/2014/main" id="{14F48D58-FFF9-4D88-86EA-5381B3B4300A}"/>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a:t>Click icon to insert image, </a:t>
            </a:r>
            <a:br>
              <a:rPr lang="en-US"/>
            </a:br>
            <a:r>
              <a:rPr lang="en-US"/>
              <a:t>or select placeholder </a:t>
            </a:r>
            <a:br>
              <a:rPr lang="en-US"/>
            </a:br>
            <a:r>
              <a:rPr lang="en-US"/>
              <a:t>and paste image</a:t>
            </a:r>
          </a:p>
          <a:p>
            <a:endParaRPr lang="en-US"/>
          </a:p>
          <a:p>
            <a:endParaRPr lang="en-US"/>
          </a:p>
          <a:p>
            <a:endParaRPr lang="en-US"/>
          </a:p>
        </p:txBody>
      </p:sp>
      <p:sp>
        <p:nvSpPr>
          <p:cNvPr id="11" name="Content Placeholder 10">
            <a:extLst>
              <a:ext uri="{FF2B5EF4-FFF2-40B4-BE49-F238E27FC236}">
                <a16:creationId xmlns:a16="http://schemas.microsoft.com/office/drawing/2014/main" id="{815FDEA2-616E-44F0-9C9D-8C4D782AA50E}"/>
              </a:ext>
            </a:extLst>
          </p:cNvPr>
          <p:cNvSpPr>
            <a:spLocks noGrp="1"/>
          </p:cNvSpPr>
          <p:nvPr>
            <p:ph sz="quarter" idx="15" hasCustomPrompt="1"/>
          </p:nvPr>
        </p:nvSpPr>
        <p:spPr>
          <a:xfrm>
            <a:off x="304800" y="1485900"/>
            <a:ext cx="5638800" cy="4724400"/>
          </a:xfrm>
        </p:spPr>
        <p:txBody>
          <a:bodyPr>
            <a:noAutofit/>
          </a:bodyPr>
          <a:lstStyle>
            <a:lvl1pPr>
              <a:defRPr/>
            </a:lvl1pPr>
          </a:lstStyle>
          <a:p>
            <a:pPr lvl="0"/>
            <a:r>
              <a:rPr lang="en-US"/>
              <a:t>Enter slide content</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692A2F1A-4E48-4381-8802-9890CF36A3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74879381"/>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304800" y="1485900"/>
            <a:ext cx="11582400" cy="2049792"/>
          </a:xfrm>
        </p:spPr>
        <p:txBody>
          <a:bodyPr/>
          <a:lstStyle>
            <a:lvl1pPr>
              <a:defRPr/>
            </a:lvl1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77B27E33-F9A1-4B7E-98F2-95DDFC9626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1571172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itle, subtitle, an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304800" y="1714500"/>
            <a:ext cx="115824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2F640AB-C306-447F-B13B-6F1737B84D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459320557"/>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itle, subtitle, and bullete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11582400" cy="2049792"/>
          </a:xfrm>
        </p:spPr>
        <p:txBody>
          <a:bodyPr/>
          <a:lstStyle>
            <a:lvl1pPr>
              <a:defRPr/>
            </a:lvl1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54BF271B-9304-419B-B9A2-7C10028868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258197758"/>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a:t>Two-column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7B403FA8-4F51-4E88-9613-94CE32CA3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730925635"/>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1430D0AE-4901-4B7C-8638-4A6638176F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494793447"/>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1"/>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EDE09516-EAD8-4522-97B6-D67B82BDA58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021670037"/>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304800" y="1714500"/>
            <a:ext cx="5676900" cy="2049791"/>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76900" cy="2049791"/>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B8024B1D-018E-457E-ADB0-0510A86732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66558635"/>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400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5B641-AA35-4952-8BD0-57A5E6BAC6C0}"/>
              </a:ext>
            </a:extLst>
          </p:cNvPr>
          <p:cNvSpPr>
            <a:spLocks noGrp="1"/>
          </p:cNvSpPr>
          <p:nvPr>
            <p:ph type="title" hasCustomPrompt="1"/>
          </p:nvPr>
        </p:nvSpPr>
        <p:spPr/>
        <p:txBody>
          <a:bodyPr/>
          <a:lstStyle>
            <a:lvl1pPr>
              <a:defRPr/>
            </a:lvl1pPr>
          </a:lstStyle>
          <a:p>
            <a:r>
              <a:rPr lang="en-US"/>
              <a:t>Code layout</a:t>
            </a:r>
          </a:p>
        </p:txBody>
      </p:sp>
      <p:sp>
        <p:nvSpPr>
          <p:cNvPr id="7" name="Content Placeholder 6">
            <a:extLst>
              <a:ext uri="{FF2B5EF4-FFF2-40B4-BE49-F238E27FC236}">
                <a16:creationId xmlns:a16="http://schemas.microsoft.com/office/drawing/2014/main" id="{BBBB28F6-ED88-4F6C-98C2-239A1B8050D8}"/>
              </a:ext>
            </a:extLst>
          </p:cNvPr>
          <p:cNvSpPr>
            <a:spLocks noGrp="1"/>
          </p:cNvSpPr>
          <p:nvPr>
            <p:ph sz="quarter" idx="10" hasCustomPrompt="1"/>
          </p:nvPr>
        </p:nvSpPr>
        <p:spPr>
          <a:xfrm>
            <a:off x="304800" y="1485900"/>
            <a:ext cx="115824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a:t>Type or paste plain-text code here, or click icon to add image</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17BC4998-72A6-4E94-81BD-41A1511259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2748594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a:t>Code layout, two columns</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8A5EFA6F-B759-42B9-9EC8-88192431FA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59945578"/>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90A961-DBEA-44D4-E1FD-7DD7B71122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p:spPr>
        <p:txBody>
          <a:bodyPr/>
          <a:lstStyle>
            <a:lvl1pPr>
              <a:defRPr sz="4400"/>
            </a:lvl1pPr>
          </a:lstStyle>
          <a:p>
            <a:r>
              <a:rPr lang="en-US"/>
              <a:t>Enter quote here. Omit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424732"/>
          </a:xfrm>
        </p:spPr>
        <p:txBody>
          <a:bodyPr/>
          <a:lstStyle>
            <a:lvl1pPr marL="0" indent="0">
              <a:buNone/>
              <a:defRPr sz="24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69332"/>
          </a:xfrm>
        </p:spPr>
        <p:txBody>
          <a:bodyPr/>
          <a:lstStyle>
            <a:lvl1pPr marL="0" indent="0">
              <a:buNone/>
              <a:defRPr sz="2000"/>
            </a:lvl1pPr>
          </a:lstStyle>
          <a:p>
            <a:pPr lvl="0"/>
            <a:r>
              <a:rPr lang="en-US"/>
              <a:t>Enter quoted person’s affiliation</a:t>
            </a:r>
          </a:p>
        </p:txBody>
      </p:sp>
      <p:sp>
        <p:nvSpPr>
          <p:cNvPr id="13" name="TextBox 3">
            <a:extLst>
              <a:ext uri="{FF2B5EF4-FFF2-40B4-BE49-F238E27FC236}">
                <a16:creationId xmlns:a16="http://schemas.microsoft.com/office/drawing/2014/main" id="{8ACB3D16-6816-4239-9D78-8C8607D990F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4" name="Picture 13">
            <a:extLst>
              <a:ext uri="{FF2B5EF4-FFF2-40B4-BE49-F238E27FC236}">
                <a16:creationId xmlns:a16="http://schemas.microsoft.com/office/drawing/2014/main" id="{C4453ABE-4B3B-4785-801A-97113C7EBAE1}"/>
              </a:ext>
            </a:extLst>
          </p:cNvPr>
          <p:cNvPicPr>
            <a:picLocks noChangeAspect="1"/>
          </p:cNvPicPr>
          <p:nvPr userDrawn="1"/>
        </p:nvPicPr>
        <p:blipFill>
          <a:blip r:embed="rId3"/>
          <a:srcRect/>
          <a:stretch/>
        </p:blipFill>
        <p:spPr>
          <a:xfrm>
            <a:off x="292501" y="6428661"/>
            <a:ext cx="388818" cy="219592"/>
          </a:xfrm>
          <a:prstGeom prst="rect">
            <a:avLst/>
          </a:prstGeom>
        </p:spPr>
      </p:pic>
      <p:pic>
        <p:nvPicPr>
          <p:cNvPr id="6" name="Picture 5">
            <a:extLst>
              <a:ext uri="{FF2B5EF4-FFF2-40B4-BE49-F238E27FC236}">
                <a16:creationId xmlns:a16="http://schemas.microsoft.com/office/drawing/2014/main" id="{D61735F0-6B63-48CA-B727-F1A6A472C23D}"/>
              </a:ext>
            </a:extLst>
          </p:cNvPr>
          <p:cNvPicPr>
            <a:picLocks noChangeAspect="1"/>
          </p:cNvPicPr>
          <p:nvPr userDrawn="1"/>
        </p:nvPicPr>
        <p:blipFill rotWithShape="1">
          <a:blip r:embed="rId4"/>
          <a:srcRect l="35444" t="25279" r="36166" b="58334"/>
          <a:stretch/>
        </p:blipFill>
        <p:spPr>
          <a:xfrm>
            <a:off x="304800" y="916872"/>
            <a:ext cx="855146" cy="585308"/>
          </a:xfrm>
          <a:prstGeom prst="rect">
            <a:avLst/>
          </a:prstGeom>
        </p:spPr>
      </p:pic>
    </p:spTree>
    <p:extLst>
      <p:ext uri="{BB962C8B-B14F-4D97-AF65-F5344CB8AC3E}">
        <p14:creationId xmlns:p14="http://schemas.microsoft.com/office/powerpoint/2010/main" val="2616666261"/>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FA8EB-0600-F8CB-1D5D-ADAF85CCDB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304800" y="2707821"/>
            <a:ext cx="8191500" cy="1442355"/>
          </a:xfrm>
        </p:spPr>
        <p:txBody>
          <a:bodyPr anchor="ctr"/>
          <a:lstStyle>
            <a:lvl1pPr>
              <a:defRPr sz="4400"/>
            </a:lvl1pPr>
          </a:lstStyle>
          <a:p>
            <a:r>
              <a:rPr lang="en-US"/>
              <a:t>Section divider – </a:t>
            </a:r>
            <a:br>
              <a:rPr lang="en-US"/>
            </a:br>
            <a:r>
              <a:rPr lang="en-US"/>
              <a:t>Enter section name here</a:t>
            </a:r>
          </a:p>
        </p:txBody>
      </p:sp>
      <p:sp>
        <p:nvSpPr>
          <p:cNvPr id="5" name="TextBox 3">
            <a:extLst>
              <a:ext uri="{FF2B5EF4-FFF2-40B4-BE49-F238E27FC236}">
                <a16:creationId xmlns:a16="http://schemas.microsoft.com/office/drawing/2014/main" id="{8346ACD8-81A7-4692-9AFD-C9752EC695DD}"/>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pic>
        <p:nvPicPr>
          <p:cNvPr id="8" name="Picture 7">
            <a:extLst>
              <a:ext uri="{FF2B5EF4-FFF2-40B4-BE49-F238E27FC236}">
                <a16:creationId xmlns:a16="http://schemas.microsoft.com/office/drawing/2014/main" id="{853D8AE1-0FD2-4DEF-8808-670A058C1CE3}"/>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9454508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192000" cy="638175"/>
          </a:xfrm>
        </p:spPr>
        <p:txBody>
          <a:bodyPr/>
          <a:lstStyle>
            <a:lvl1pPr>
              <a:defRPr sz="3600">
                <a:solidFill>
                  <a:schemeClr val="bg1">
                    <a:lumMod val="65000"/>
                    <a:lumOff val="35000"/>
                  </a:schemeClr>
                </a:solidFill>
              </a:defRPr>
            </a:lvl1pPr>
          </a:lstStyle>
          <a:p>
            <a:r>
              <a:rPr lang="en-US"/>
              <a:t>Video layout (enter descriptive title here for accessibility)</a:t>
            </a:r>
          </a:p>
        </p:txBody>
      </p:sp>
      <p:pic>
        <p:nvPicPr>
          <p:cNvPr id="6" name="Picture 5">
            <a:extLst>
              <a:ext uri="{FF2B5EF4-FFF2-40B4-BE49-F238E27FC236}">
                <a16:creationId xmlns:a16="http://schemas.microsoft.com/office/drawing/2014/main" id="{2ECA4397-C1FB-44F1-9E3B-33384D2CDD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0941271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10167-6731-422B-AAF3-3DCD022FDA3A}"/>
              </a:ext>
            </a:extLst>
          </p:cNvPr>
          <p:cNvSpPr>
            <a:spLocks noGrp="1"/>
          </p:cNvSpPr>
          <p:nvPr>
            <p:ph type="title" hasCustomPrompt="1"/>
          </p:nvPr>
        </p:nvSpPr>
        <p:spPr>
          <a:xfrm>
            <a:off x="304800" y="304800"/>
            <a:ext cx="11582400" cy="638175"/>
          </a:xfrm>
        </p:spPr>
        <p:txBody>
          <a:bodyPr/>
          <a:lstStyle>
            <a:lvl1pPr>
              <a:defRPr/>
            </a:lvl1pPr>
          </a:lstStyle>
          <a:p>
            <a:r>
              <a:rPr lang="en-US"/>
              <a:t>Comparison layout</a:t>
            </a:r>
          </a:p>
        </p:txBody>
      </p:sp>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304800"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304800" y="1989137"/>
            <a:ext cx="5676897"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3"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1989137"/>
            <a:ext cx="5676896"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09C08B5-408C-4416-9897-9FC5594CC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062826937"/>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EC130-06E7-4370-BE1F-6B09EE729241}"/>
              </a:ext>
            </a:extLst>
          </p:cNvPr>
          <p:cNvSpPr>
            <a:spLocks noGrp="1"/>
          </p:cNvSpPr>
          <p:nvPr>
            <p:ph type="title" hasCustomPrompt="1"/>
          </p:nvPr>
        </p:nvSpPr>
        <p:spPr>
          <a:xfrm>
            <a:off x="304800" y="304800"/>
            <a:ext cx="4152900" cy="1181100"/>
          </a:xfrm>
        </p:spPr>
        <p:txBody>
          <a:bodyPr anchor="t"/>
          <a:lstStyle>
            <a:lvl1pPr>
              <a:defRPr sz="4000"/>
            </a:lvl1pPr>
          </a:lstStyle>
          <a:p>
            <a:r>
              <a:rPr lang="en-US"/>
              <a:t>Content with caption layout</a:t>
            </a:r>
          </a:p>
        </p:txBody>
      </p:sp>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04799"/>
            <a:ext cx="6858000" cy="5905501"/>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304800" y="2181224"/>
            <a:ext cx="41529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pic>
        <p:nvPicPr>
          <p:cNvPr id="6" name="Picture 5">
            <a:extLst>
              <a:ext uri="{FF2B5EF4-FFF2-40B4-BE49-F238E27FC236}">
                <a16:creationId xmlns:a16="http://schemas.microsoft.com/office/drawing/2014/main" id="{AFC44287-B2A7-4C95-A779-3F4151ACF3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091156269"/>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88CF-49CB-49EE-AEAE-AF86931C7892}"/>
              </a:ext>
            </a:extLst>
          </p:cNvPr>
          <p:cNvSpPr>
            <a:spLocks noGrp="1"/>
          </p:cNvSpPr>
          <p:nvPr>
            <p:ph type="title" hasCustomPrompt="1"/>
          </p:nvPr>
        </p:nvSpPr>
        <p:spPr>
          <a:xfrm>
            <a:off x="304800" y="304800"/>
            <a:ext cx="4152900" cy="1181100"/>
          </a:xfrm>
        </p:spPr>
        <p:txBody>
          <a:bodyPr anchor="t"/>
          <a:lstStyle>
            <a:lvl1pPr>
              <a:defRPr sz="4000"/>
            </a:lvl1pPr>
          </a:lstStyle>
          <a:p>
            <a:r>
              <a:rPr lang="en-US"/>
              <a:t>Picture with caption layout</a:t>
            </a:r>
          </a:p>
        </p:txBody>
      </p:sp>
      <p:sp>
        <p:nvSpPr>
          <p:cNvPr id="3" name="Picture Placeholder 2">
            <a:extLst>
              <a:ext uri="{FF2B5EF4-FFF2-40B4-BE49-F238E27FC236}">
                <a16:creationId xmlns:a16="http://schemas.microsoft.com/office/drawing/2014/main" id="{C4FCFB70-4D2B-4A5F-B5F1-1904D4D48BFB}"/>
              </a:ext>
            </a:extLst>
          </p:cNvPr>
          <p:cNvSpPr>
            <a:spLocks noGrp="1"/>
          </p:cNvSpPr>
          <p:nvPr>
            <p:ph type="pic" idx="1" hasCustomPrompt="1"/>
          </p:nvPr>
        </p:nvSpPr>
        <p:spPr>
          <a:xfrm>
            <a:off x="5029200" y="304799"/>
            <a:ext cx="6858000" cy="5905501"/>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image</a:t>
            </a:r>
            <a:br>
              <a:rPr lang="en-US"/>
            </a:br>
            <a:br>
              <a:rPr lang="en-US"/>
            </a:br>
            <a:endParaRPr lang="en-US"/>
          </a:p>
        </p:txBody>
      </p:sp>
      <p:sp>
        <p:nvSpPr>
          <p:cNvPr id="4" name="Text Placeholder 3">
            <a:extLst>
              <a:ext uri="{FF2B5EF4-FFF2-40B4-BE49-F238E27FC236}">
                <a16:creationId xmlns:a16="http://schemas.microsoft.com/office/drawing/2014/main" id="{5334DB1E-5222-413E-A157-09D2D7B06BED}"/>
              </a:ext>
            </a:extLst>
          </p:cNvPr>
          <p:cNvSpPr>
            <a:spLocks noGrp="1"/>
          </p:cNvSpPr>
          <p:nvPr>
            <p:ph type="body" sz="half" idx="2" hasCustomPrompt="1"/>
          </p:nvPr>
        </p:nvSpPr>
        <p:spPr>
          <a:xfrm>
            <a:off x="304800" y="2181224"/>
            <a:ext cx="4152900" cy="40290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pic>
        <p:nvPicPr>
          <p:cNvPr id="6" name="Picture 5">
            <a:extLst>
              <a:ext uri="{FF2B5EF4-FFF2-40B4-BE49-F238E27FC236}">
                <a16:creationId xmlns:a16="http://schemas.microsoft.com/office/drawing/2014/main" id="{793D827A-089B-4E08-84DA-CE974B5C540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24765337"/>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B277E4-9A69-4767-9CF4-47951F185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176C295-EE16-47C5-A918-84875C58174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57847" cy="6858000"/>
          </a:xfrm>
          <a:prstGeom prst="rect">
            <a:avLst/>
          </a:prstGeom>
        </p:spPr>
      </p:pic>
      <p:sp>
        <p:nvSpPr>
          <p:cNvPr id="6" name="TextBox 5">
            <a:extLst>
              <a:ext uri="{FF2B5EF4-FFF2-40B4-BE49-F238E27FC236}">
                <a16:creationId xmlns:a16="http://schemas.microsoft.com/office/drawing/2014/main" id="{EA4B92D1-BD95-4ACC-9E97-FE9B372B651C}"/>
              </a:ext>
            </a:extLst>
          </p:cNvPr>
          <p:cNvSpPr txBox="1"/>
          <p:nvPr userDrawn="1"/>
        </p:nvSpPr>
        <p:spPr bwMode="white">
          <a:xfrm>
            <a:off x="133351" y="1713913"/>
            <a:ext cx="8413750" cy="1128486"/>
          </a:xfrm>
          <a:prstGeom prst="rect">
            <a:avLst/>
          </a:prstGeom>
          <a:noFill/>
        </p:spPr>
        <p:txBody>
          <a:bodyPr lIns="182880" tIns="91440" rIns="146304" bIns="9144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pPr eaLnBrk="1" fontAlgn="auto" hangingPunct="1">
              <a:spcAft>
                <a:spcPts val="0"/>
              </a:spcAft>
              <a:defRPr/>
            </a:pPr>
            <a:r>
              <a:rPr sz="7200" b="1" i="0" spc="-300">
                <a:solidFill>
                  <a:schemeClr val="tx1"/>
                </a:solidFill>
                <a:latin typeface="+mn-lt"/>
                <a:ea typeface="Amazon Ember Display" panose="020F0603020204020204" pitchFamily="34" charset="0"/>
                <a:cs typeface="Amazon Ember Display" panose="020F0603020204020204" pitchFamily="34" charset="0"/>
              </a:rPr>
              <a:t>Thank you!</a:t>
            </a:r>
          </a:p>
        </p:txBody>
      </p:sp>
      <p:sp>
        <p:nvSpPr>
          <p:cNvPr id="9" name="TextBox 3">
            <a:extLst>
              <a:ext uri="{FF2B5EF4-FFF2-40B4-BE49-F238E27FC236}">
                <a16:creationId xmlns:a16="http://schemas.microsoft.com/office/drawing/2014/main" id="{408A370D-82D9-46EE-9BFE-A0195797ED6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p:spPr>
        <p:txBody>
          <a:bodyPr anchor="b"/>
          <a:lstStyle>
            <a:lvl1pPr marL="0" indent="0">
              <a:buNone/>
              <a:defRPr sz="2000" b="1"/>
            </a:lvl1pPr>
          </a:lstStyle>
          <a:p>
            <a:pPr lvl="0"/>
            <a:r>
              <a:rPr lang="en-US"/>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p:spPr>
        <p:txBody>
          <a:bodyPr>
            <a:noAutofit/>
          </a:bodyPr>
          <a:lstStyle>
            <a:lvl1pPr marL="0" indent="0">
              <a:spcAft>
                <a:spcPts val="600"/>
              </a:spcAft>
              <a:buNone/>
              <a:defRPr sz="1800"/>
            </a:lvl1pPr>
          </a:lstStyle>
          <a:p>
            <a:pPr lvl="0"/>
            <a:r>
              <a:rPr lang="en-US"/>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p:spPr>
        <p:txBody>
          <a:bodyPr anchor="b"/>
          <a:lstStyle>
            <a:lvl1pPr marL="0" indent="0">
              <a:buNone/>
              <a:defRPr sz="2000" b="1"/>
            </a:lvl1pPr>
          </a:lstStyle>
          <a:p>
            <a:pPr lvl="0"/>
            <a:r>
              <a:rPr lang="en-US"/>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p:spPr>
        <p:txBody>
          <a:bodyPr anchor="b"/>
          <a:lstStyle>
            <a:lvl1pPr marL="0" indent="0">
              <a:buNone/>
              <a:defRPr sz="2000" b="1"/>
            </a:lvl1pPr>
          </a:lstStyle>
          <a:p>
            <a:pPr lvl="0"/>
            <a:r>
              <a:rPr lang="en-US"/>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p:spPr>
        <p:txBody>
          <a:bodyPr>
            <a:noAutofit/>
          </a:bodyPr>
          <a:lstStyle>
            <a:lvl1pPr marL="0" indent="0">
              <a:spcAft>
                <a:spcPts val="600"/>
              </a:spcAft>
              <a:buNone/>
              <a:defRPr sz="1800"/>
            </a:lvl1pPr>
          </a:lstStyle>
          <a:p>
            <a:pPr lvl="0"/>
            <a:r>
              <a:rPr lang="en-US"/>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p:spPr>
        <p:txBody>
          <a:bodyPr>
            <a:noAutofit/>
          </a:bodyPr>
          <a:lstStyle>
            <a:lvl1pPr marL="0" indent="0">
              <a:spcAft>
                <a:spcPts val="600"/>
              </a:spcAft>
              <a:buNone/>
              <a:defRPr sz="1800"/>
            </a:lvl1pPr>
          </a:lstStyle>
          <a:p>
            <a:pPr lvl="0"/>
            <a:r>
              <a:rPr lang="en-US"/>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p:spPr>
        <p:txBody>
          <a:bodyPr/>
          <a:lstStyle>
            <a:lvl1pPr>
              <a:defRPr>
                <a:solidFill>
                  <a:schemeClr val="bg1">
                    <a:lumMod val="65000"/>
                    <a:lumOff val="35000"/>
                  </a:schemeClr>
                </a:solidFill>
              </a:defRPr>
            </a:lvl1pPr>
          </a:lstStyle>
          <a:p>
            <a:r>
              <a:rPr lang="en-US"/>
              <a:t>Thank you layout</a:t>
            </a:r>
          </a:p>
        </p:txBody>
      </p:sp>
      <p:grpSp>
        <p:nvGrpSpPr>
          <p:cNvPr id="24" name="Group 23">
            <a:extLst>
              <a:ext uri="{FF2B5EF4-FFF2-40B4-BE49-F238E27FC236}">
                <a16:creationId xmlns:a16="http://schemas.microsoft.com/office/drawing/2014/main" id="{84C7E06E-CA3B-4922-B6C2-10A3255541E3}"/>
              </a:ext>
            </a:extLst>
          </p:cNvPr>
          <p:cNvGrpSpPr/>
          <p:nvPr userDrawn="1"/>
        </p:nvGrpSpPr>
        <p:grpSpPr>
          <a:xfrm>
            <a:off x="7232650" y="1758488"/>
            <a:ext cx="4961114" cy="1039336"/>
            <a:chOff x="7232650" y="1769509"/>
            <a:chExt cx="4961114" cy="1039336"/>
          </a:xfrm>
        </p:grpSpPr>
        <p:sp>
          <p:nvSpPr>
            <p:cNvPr id="25" name="Oval 24">
              <a:extLst>
                <a:ext uri="{FF2B5EF4-FFF2-40B4-BE49-F238E27FC236}">
                  <a16:creationId xmlns:a16="http://schemas.microsoft.com/office/drawing/2014/main" id="{F4869B64-841D-4E69-A2A8-9AF625BE3A9B}"/>
                </a:ext>
              </a:extLst>
            </p:cNvPr>
            <p:cNvSpPr/>
            <p:nvPr userDrawn="1"/>
          </p:nvSpPr>
          <p:spPr bwMode="auto">
            <a:xfrm>
              <a:off x="7232650" y="1872748"/>
              <a:ext cx="832859" cy="832859"/>
            </a:xfrm>
            <a:prstGeom prst="ellipse">
              <a:avLst/>
            </a:prstGeom>
            <a:solidFill>
              <a:srgbClr val="20115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91440" rIns="0" bIns="0" anchor="ctr"/>
            <a:lstStyle/>
            <a:p>
              <a:pPr algn="ctr" defTabSz="932472" eaLnBrk="1" hangingPunct="1">
                <a:lnSpc>
                  <a:spcPct val="90000"/>
                </a:lnSpc>
                <a:defRPr/>
              </a:pPr>
              <a:endParaRPr lang="en-US" sz="5400" b="1">
                <a:solidFill>
                  <a:schemeClr val="tx1"/>
                </a:solidFill>
                <a:ea typeface="Amazon Ember Display" panose="020F0603020204020204" pitchFamily="34" charset="0"/>
                <a:cs typeface="Amazon Ember Display" panose="020F0603020204020204" pitchFamily="34" charset="0"/>
              </a:endParaRPr>
            </a:p>
          </p:txBody>
        </p:sp>
        <p:sp>
          <p:nvSpPr>
            <p:cNvPr id="26" name="Rectangle 25">
              <a:extLst>
                <a:ext uri="{FF2B5EF4-FFF2-40B4-BE49-F238E27FC236}">
                  <a16:creationId xmlns:a16="http://schemas.microsoft.com/office/drawing/2014/main" id="{8B6ADC72-224D-4A5A-870A-AEE582EDC5AA}"/>
                </a:ext>
              </a:extLst>
            </p:cNvPr>
            <p:cNvSpPr/>
            <p:nvPr userDrawn="1"/>
          </p:nvSpPr>
          <p:spPr>
            <a:xfrm>
              <a:off x="7637646" y="1872748"/>
              <a:ext cx="4556118" cy="832859"/>
            </a:xfrm>
            <a:prstGeom prst="rect">
              <a:avLst/>
            </a:prstGeom>
            <a:gradFill flip="none" rotWithShape="1">
              <a:gsLst>
                <a:gs pos="57000">
                  <a:schemeClr val="bg2">
                    <a:lumMod val="75000"/>
                    <a:lumOff val="25000"/>
                  </a:schemeClr>
                </a:gs>
                <a:gs pos="95000">
                  <a:srgbClr val="400656"/>
                </a:gs>
                <a:gs pos="16000">
                  <a:srgbClr val="20115F"/>
                </a:gs>
              </a:gsLst>
              <a:lin ang="144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800" rIns="182880" rtlCol="0" anchor="ctr"/>
            <a:lstStyle/>
            <a:p>
              <a:pPr lvl="0">
                <a:lnSpc>
                  <a:spcPct val="80000"/>
                </a:lnSpc>
              </a:pPr>
              <a:endParaRPr lang="en-US" sz="1600">
                <a:solidFill>
                  <a:schemeClr val="bg1"/>
                </a:solidFill>
                <a:cs typeface="Amazon Ember Display" panose="020F0603020204020204" pitchFamily="34" charset="0"/>
              </a:endParaRPr>
            </a:p>
          </p:txBody>
        </p:sp>
        <p:sp>
          <p:nvSpPr>
            <p:cNvPr id="27" name="TextBox 26">
              <a:extLst>
                <a:ext uri="{FF2B5EF4-FFF2-40B4-BE49-F238E27FC236}">
                  <a16:creationId xmlns:a16="http://schemas.microsoft.com/office/drawing/2014/main" id="{FF86D94E-33EB-4D5B-9BA2-E558D513AC36}"/>
                </a:ext>
              </a:extLst>
            </p:cNvPr>
            <p:cNvSpPr txBox="1"/>
            <p:nvPr userDrawn="1"/>
          </p:nvSpPr>
          <p:spPr>
            <a:xfrm>
              <a:off x="8594726" y="1900795"/>
              <a:ext cx="3394181" cy="794064"/>
            </a:xfrm>
            <a:prstGeom prst="rect">
              <a:avLst/>
            </a:prstGeom>
            <a:noFill/>
          </p:spPr>
          <p:txBody>
            <a:bodyPr wrap="square" lIns="182880" tIns="146304" rIns="182880" bIns="146304" rtlCol="0">
              <a:spAutoFit/>
            </a:bodyPr>
            <a:lstStyle/>
            <a:p>
              <a:pPr algn="l">
                <a:lnSpc>
                  <a:spcPct val="90000"/>
                </a:lnSpc>
                <a:spcAft>
                  <a:spcPts val="1800"/>
                </a:spcAft>
              </a:pPr>
              <a:r>
                <a:rPr lang="en-US" sz="1800" b="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Please complete the session survey in the </a:t>
              </a:r>
              <a:r>
                <a:rPr lang="en-US" sz="1800" b="0" u="none">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mobile app</a:t>
              </a:r>
            </a:p>
          </p:txBody>
        </p:sp>
        <p:pic>
          <p:nvPicPr>
            <p:cNvPr id="28" name="Graphic 27">
              <a:extLst>
                <a:ext uri="{FF2B5EF4-FFF2-40B4-BE49-F238E27FC236}">
                  <a16:creationId xmlns:a16="http://schemas.microsoft.com/office/drawing/2014/main" id="{E0DF1074-5183-456A-A65A-F40ABF9419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11809" y="1769509"/>
              <a:ext cx="1039336" cy="1039336"/>
            </a:xfrm>
            <a:prstGeom prst="rect">
              <a:avLst/>
            </a:prstGeom>
          </p:spPr>
        </p:pic>
      </p:grpSp>
      <p:pic>
        <p:nvPicPr>
          <p:cNvPr id="18" name="Picture 17">
            <a:extLst>
              <a:ext uri="{FF2B5EF4-FFF2-40B4-BE49-F238E27FC236}">
                <a16:creationId xmlns:a16="http://schemas.microsoft.com/office/drawing/2014/main" id="{DBD2A98C-F1FC-4E4F-9A9B-56DDFDF98232}"/>
              </a:ext>
            </a:extLst>
          </p:cNvPr>
          <p:cNvPicPr>
            <a:picLocks noChangeAspect="1"/>
          </p:cNvPicPr>
          <p:nvPr userDrawn="1"/>
        </p:nvPicPr>
        <p:blipFill>
          <a:blip r:embed="rId6"/>
          <a:srcRect/>
          <a:stretch/>
        </p:blipFill>
        <p:spPr>
          <a:xfrm>
            <a:off x="292501" y="6428661"/>
            <a:ext cx="388818" cy="219592"/>
          </a:xfrm>
          <a:prstGeom prst="rect">
            <a:avLst/>
          </a:prstGeom>
        </p:spPr>
      </p:pic>
    </p:spTree>
    <p:extLst>
      <p:ext uri="{BB962C8B-B14F-4D97-AF65-F5344CB8AC3E}">
        <p14:creationId xmlns:p14="http://schemas.microsoft.com/office/powerpoint/2010/main" val="89541725"/>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75D63-DB02-47E2-8ABC-1CDE7351B5CE}"/>
              </a:ext>
            </a:extLst>
          </p:cNvPr>
          <p:cNvSpPr>
            <a:spLocks noGrp="1"/>
          </p:cNvSpPr>
          <p:nvPr>
            <p:ph type="title" hasCustomPrompt="1"/>
          </p:nvPr>
        </p:nvSpPr>
        <p:spPr/>
        <p:txBody>
          <a:bodyPr/>
          <a:lstStyle>
            <a:lvl1pPr>
              <a:defRPr/>
            </a:lvl1pPr>
          </a:lstStyle>
          <a:p>
            <a:r>
              <a:rPr lang="en-US"/>
              <a:t>Title vertical text layout (for global use)</a:t>
            </a:r>
          </a:p>
        </p:txBody>
      </p:sp>
      <p:sp>
        <p:nvSpPr>
          <p:cNvPr id="3" name="Vertical Text Placeholder 2">
            <a:extLst>
              <a:ext uri="{FF2B5EF4-FFF2-40B4-BE49-F238E27FC236}">
                <a16:creationId xmlns:a16="http://schemas.microsoft.com/office/drawing/2014/main" id="{3798635E-72DE-4F61-BE10-3EAC7D7834F6}"/>
              </a:ext>
            </a:extLst>
          </p:cNvPr>
          <p:cNvSpPr>
            <a:spLocks noGrp="1"/>
          </p:cNvSpPr>
          <p:nvPr>
            <p:ph type="body" orient="vert" idx="1" hasCustomPrompt="1"/>
          </p:nvPr>
        </p:nvSpPr>
        <p:spPr>
          <a:xfrm>
            <a:off x="304800" y="1485900"/>
            <a:ext cx="11582401" cy="4724400"/>
          </a:xfrm>
        </p:spPr>
        <p:txBody>
          <a:bodyPr vert="eaVert">
            <a:noAutofit/>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942B27F6-70E9-4C1D-B876-3F56E6F0B8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9568173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slide gradient 2">
    <p:bg>
      <p:bgPr>
        <a:solidFill>
          <a:schemeClr val="tx1"/>
        </a:solidFill>
        <a:effectLst/>
      </p:bgPr>
    </p:bg>
    <p:spTree>
      <p:nvGrpSpPr>
        <p:cNvPr id="1" name=""/>
        <p:cNvGrpSpPr/>
        <p:nvPr/>
      </p:nvGrpSpPr>
      <p:grpSpPr>
        <a:xfrm>
          <a:off x="0" y="0"/>
          <a:ext cx="0" cy="0"/>
          <a:chOff x="0" y="0"/>
          <a:chExt cx="0" cy="0"/>
        </a:xfrm>
      </p:grpSpPr>
      <p:pic>
        <p:nvPicPr>
          <p:cNvPr id="2" name="Picture 1" descr="A purple and orange light&#10;&#10;AI-generated content may be incorrect.">
            <a:extLst>
              <a:ext uri="{FF2B5EF4-FFF2-40B4-BE49-F238E27FC236}">
                <a16:creationId xmlns:a16="http://schemas.microsoft.com/office/drawing/2014/main" id="{23BA6AAE-0BE3-7D7F-8386-A74B4340CA4F}"/>
              </a:ext>
            </a:extLst>
          </p:cNvPr>
          <p:cNvPicPr>
            <a:picLocks noChangeAspect="1"/>
          </p:cNvPicPr>
          <p:nvPr userDrawn="1"/>
        </p:nvPicPr>
        <p:blipFill>
          <a:blip r:embed="rId2">
            <a:extLst>
              <a:ext uri="{28A0092B-C50C-407E-A947-70E740481C1C}">
                <a14:useLocalDpi xmlns:a14="http://schemas.microsoft.com/office/drawing/2010/main" val="0"/>
              </a:ext>
            </a:extLst>
          </a:blip>
          <a:srcRect l="68661" t="19716" r="6448" b="13298"/>
          <a:stretch/>
        </p:blipFill>
        <p:spPr>
          <a:xfrm rot="16731733">
            <a:off x="1769029" y="-3120985"/>
            <a:ext cx="8653943" cy="13099971"/>
          </a:xfrm>
          <a:custGeom>
            <a:avLst/>
            <a:gdLst>
              <a:gd name="connsiteX0" fmla="*/ 6776127 w 8653943"/>
              <a:gd name="connsiteY0" fmla="*/ 0 h 13099971"/>
              <a:gd name="connsiteX1" fmla="*/ 8653943 w 8653943"/>
              <a:gd name="connsiteY1" fmla="*/ 12043436 h 13099971"/>
              <a:gd name="connsiteX2" fmla="*/ 1877816 w 8653943"/>
              <a:gd name="connsiteY2" fmla="*/ 13099971 h 13099971"/>
              <a:gd name="connsiteX3" fmla="*/ 0 w 8653943"/>
              <a:gd name="connsiteY3" fmla="*/ 1056535 h 13099971"/>
            </a:gdLst>
            <a:ahLst/>
            <a:cxnLst>
              <a:cxn ang="0">
                <a:pos x="connsiteX0" y="connsiteY0"/>
              </a:cxn>
              <a:cxn ang="0">
                <a:pos x="connsiteX1" y="connsiteY1"/>
              </a:cxn>
              <a:cxn ang="0">
                <a:pos x="connsiteX2" y="connsiteY2"/>
              </a:cxn>
              <a:cxn ang="0">
                <a:pos x="connsiteX3" y="connsiteY3"/>
              </a:cxn>
            </a:cxnLst>
            <a:rect l="l" t="t" r="r" b="b"/>
            <a:pathLst>
              <a:path w="8653943" h="13099971">
                <a:moveTo>
                  <a:pt x="6776127" y="0"/>
                </a:moveTo>
                <a:lnTo>
                  <a:pt x="8653943" y="12043436"/>
                </a:lnTo>
                <a:lnTo>
                  <a:pt x="1877816" y="13099971"/>
                </a:lnTo>
                <a:lnTo>
                  <a:pt x="0" y="1056535"/>
                </a:lnTo>
                <a:close/>
              </a:path>
            </a:pathLst>
          </a:custGeom>
        </p:spPr>
      </p:pic>
      <p:pic>
        <p:nvPicPr>
          <p:cNvPr id="24" name="Graphic 23">
            <a:extLst>
              <a:ext uri="{FF2B5EF4-FFF2-40B4-BE49-F238E27FC236}">
                <a16:creationId xmlns:a16="http://schemas.microsoft.com/office/drawing/2014/main" id="{A132D961-6013-D997-E7FA-8B088EFC76B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4" name="Title 1">
            <a:extLst>
              <a:ext uri="{FF2B5EF4-FFF2-40B4-BE49-F238E27FC236}">
                <a16:creationId xmlns:a16="http://schemas.microsoft.com/office/drawing/2014/main" id="{DED53C85-4067-5BF5-B4B7-19FE6DA7FD3C}"/>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10" name="Subtitle 2">
            <a:extLst>
              <a:ext uri="{FF2B5EF4-FFF2-40B4-BE49-F238E27FC236}">
                <a16:creationId xmlns:a16="http://schemas.microsoft.com/office/drawing/2014/main" id="{38D37E8A-C370-C2D2-6219-983DC3EDDF42}"/>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12" name="Text Placeholder 7">
            <a:extLst>
              <a:ext uri="{FF2B5EF4-FFF2-40B4-BE49-F238E27FC236}">
                <a16:creationId xmlns:a16="http://schemas.microsoft.com/office/drawing/2014/main" id="{63CA95BB-E95C-88A5-1767-D34105C70004}"/>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a:t>Enter session ID if required</a:t>
            </a:r>
          </a:p>
        </p:txBody>
      </p:sp>
      <p:sp>
        <p:nvSpPr>
          <p:cNvPr id="14" name="Text Placeholder 11">
            <a:extLst>
              <a:ext uri="{FF2B5EF4-FFF2-40B4-BE49-F238E27FC236}">
                <a16:creationId xmlns:a16="http://schemas.microsoft.com/office/drawing/2014/main" id="{BB213CD9-9355-C6E6-E9E7-2E6993BD01F0}"/>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15" name="Text Placeholder 15">
            <a:extLst>
              <a:ext uri="{FF2B5EF4-FFF2-40B4-BE49-F238E27FC236}">
                <a16:creationId xmlns:a16="http://schemas.microsoft.com/office/drawing/2014/main" id="{DD331DE9-DCE1-20F2-0E71-05DD25F2496A}"/>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a:t>(pronouns)</a:t>
            </a:r>
          </a:p>
          <a:p>
            <a:pPr lvl="0"/>
            <a:r>
              <a:rPr lang="en-US"/>
              <a:t>Job title</a:t>
            </a:r>
          </a:p>
          <a:p>
            <a:pPr lvl="0"/>
            <a:r>
              <a:rPr lang="en-US"/>
              <a:t>Company</a:t>
            </a:r>
          </a:p>
        </p:txBody>
      </p:sp>
      <p:sp>
        <p:nvSpPr>
          <p:cNvPr id="17" name="TextBox 3">
            <a:extLst>
              <a:ext uri="{FF2B5EF4-FFF2-40B4-BE49-F238E27FC236}">
                <a16:creationId xmlns:a16="http://schemas.microsoft.com/office/drawing/2014/main" id="{FA1468F4-AAD2-7E17-25AC-DE8D330F10E2}"/>
              </a:ext>
            </a:extLst>
          </p:cNvPr>
          <p:cNvSpPr txBox="1">
            <a:spLocks noChangeArrowheads="1"/>
          </p:cNvSpPr>
          <p:nvPr userDrawn="1"/>
        </p:nvSpPr>
        <p:spPr bwMode="white">
          <a:xfrm>
            <a:off x="419101" y="6476853"/>
            <a:ext cx="519382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Tree>
    <p:extLst>
      <p:ext uri="{BB962C8B-B14F-4D97-AF65-F5344CB8AC3E}">
        <p14:creationId xmlns:p14="http://schemas.microsoft.com/office/powerpoint/2010/main" val="2101294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5A6E2F-2A0D-41FD-98C9-E5EC67311CD7}"/>
              </a:ext>
            </a:extLst>
          </p:cNvPr>
          <p:cNvSpPr>
            <a:spLocks noGrp="1"/>
          </p:cNvSpPr>
          <p:nvPr>
            <p:ph type="title" orient="vert" hasCustomPrompt="1"/>
          </p:nvPr>
        </p:nvSpPr>
        <p:spPr>
          <a:xfrm>
            <a:off x="9258300" y="304800"/>
            <a:ext cx="2628900" cy="5811838"/>
          </a:xfrm>
        </p:spPr>
        <p:txBody>
          <a:bodyPr vert="eaVert"/>
          <a:lstStyle>
            <a:lvl1pPr>
              <a:defRPr/>
            </a:lvl1pPr>
          </a:lstStyle>
          <a:p>
            <a:r>
              <a:rPr lang="en-US"/>
              <a:t>Vertical title and text layout (for global use)</a:t>
            </a:r>
          </a:p>
        </p:txBody>
      </p:sp>
      <p:sp>
        <p:nvSpPr>
          <p:cNvPr id="3" name="Vertical Text Placeholder 2">
            <a:extLst>
              <a:ext uri="{FF2B5EF4-FFF2-40B4-BE49-F238E27FC236}">
                <a16:creationId xmlns:a16="http://schemas.microsoft.com/office/drawing/2014/main" id="{B304BEE4-73E5-478E-9908-4B1421AA9F89}"/>
              </a:ext>
            </a:extLst>
          </p:cNvPr>
          <p:cNvSpPr>
            <a:spLocks noGrp="1"/>
          </p:cNvSpPr>
          <p:nvPr>
            <p:ph type="body" orient="vert" idx="1" hasCustomPrompt="1"/>
          </p:nvPr>
        </p:nvSpPr>
        <p:spPr>
          <a:xfrm>
            <a:off x="304800" y="304800"/>
            <a:ext cx="8267700" cy="5905499"/>
          </a:xfrm>
        </p:spPr>
        <p:txBody>
          <a:bodyPr vert="eaVert">
            <a:noAutofit/>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A9FA31B9-D512-49AE-BE72-FB74192BB5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49768827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570948-50D6-4C6C-89FC-1CF33457240B}"/>
              </a:ext>
            </a:extLst>
          </p:cNvPr>
          <p:cNvSpPr txBox="1"/>
          <p:nvPr userDrawn="1"/>
        </p:nvSpPr>
        <p:spPr>
          <a:xfrm>
            <a:off x="3486150" y="2418081"/>
            <a:ext cx="7785100" cy="2021836"/>
          </a:xfrm>
          <a:prstGeom prst="rect">
            <a:avLst/>
          </a:prstGeom>
          <a:noFill/>
        </p:spPr>
        <p:txBody>
          <a:bodyPr wrap="square" rtlCol="0">
            <a:spAutoFit/>
          </a:bodyPr>
          <a:lstStyle/>
          <a:p>
            <a:pPr algn="l">
              <a:lnSpc>
                <a:spcPct val="80000"/>
              </a:lnSpc>
            </a:pPr>
            <a:r>
              <a:rPr lang="en-US" sz="6600" b="1" i="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br>
              <a:rPr lang="en-US" sz="6600" b="1" i="0">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2400" b="1" i="0">
                <a:latin typeface="Amazon Ember Display" panose="020F0603020204020204" pitchFamily="34" charset="0"/>
                <a:ea typeface="Amazon Ember Display" panose="020F0603020204020204" pitchFamily="34" charset="0"/>
                <a:cs typeface="Amazon Ember Display" panose="020F0603020204020204" pitchFamily="34" charset="0"/>
              </a:rPr>
              <a:t>They are not part of the official template.</a:t>
            </a:r>
            <a:endParaRPr lang="en-US" sz="6600" b="1" i="0">
              <a:latin typeface="Amazon Ember Display" panose="020F0603020204020204" pitchFamily="34" charset="0"/>
              <a:ea typeface="Amazon Ember Display" panose="020F0603020204020204" pitchFamily="34" charset="0"/>
              <a:cs typeface="Amazon Ember Display" panose="020F0603020204020204" pitchFamily="34" charset="0"/>
            </a:endParaRPr>
          </a:p>
        </p:txBody>
      </p:sp>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Tree>
    <p:extLst>
      <p:ext uri="{BB962C8B-B14F-4D97-AF65-F5344CB8AC3E}">
        <p14:creationId xmlns:p14="http://schemas.microsoft.com/office/powerpoint/2010/main" val="313234553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with Night Light">
    <p:bg>
      <p:bgPr>
        <a:solidFill>
          <a:schemeClr val="bg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CDED8CC-A655-FE0E-B52B-9C98D374A097}"/>
              </a:ext>
            </a:extLst>
          </p:cNvPr>
          <p:cNvSpPr/>
          <p:nvPr userDrawn="1"/>
        </p:nvSpPr>
        <p:spPr>
          <a:xfrm>
            <a:off x="668280" y="3774695"/>
            <a:ext cx="11148466" cy="8990648"/>
          </a:xfrm>
          <a:prstGeom prst="ellipse">
            <a:avLst/>
          </a:prstGeom>
          <a:gradFill flip="none" rotWithShape="1">
            <a:gsLst>
              <a:gs pos="0">
                <a:schemeClr val="accent5">
                  <a:lumMod val="60000"/>
                  <a:lumOff val="40000"/>
                  <a:alpha val="65000"/>
                </a:schemeClr>
              </a:gs>
              <a:gs pos="78000">
                <a:schemeClr val="accent3">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Display"/>
              <a:ea typeface="+mn-ea"/>
              <a:cs typeface="+mn-cs"/>
            </a:endParaRPr>
          </a:p>
        </p:txBody>
      </p:sp>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192001"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4" name="Rectangle 3">
            <a:extLst>
              <a:ext uri="{FF2B5EF4-FFF2-40B4-BE49-F238E27FC236}">
                <a16:creationId xmlns:a16="http://schemas.microsoft.com/office/drawing/2014/main" id="{379F3C83-809B-6A70-3AD1-6DA027C1E179}"/>
              </a:ext>
            </a:extLst>
          </p:cNvPr>
          <p:cNvSpPr/>
          <p:nvPr userDrawn="1"/>
        </p:nvSpPr>
        <p:spPr>
          <a:xfrm>
            <a:off x="-723900" y="6858000"/>
            <a:ext cx="13639800" cy="5581650"/>
          </a:xfrm>
          <a:prstGeom prst="rect">
            <a:avLst/>
          </a:prstGeom>
          <a:solidFill>
            <a:srgbClr val="E6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Tree>
    <p:extLst>
      <p:ext uri="{BB962C8B-B14F-4D97-AF65-F5344CB8AC3E}">
        <p14:creationId xmlns:p14="http://schemas.microsoft.com/office/powerpoint/2010/main" val="152073277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BD4D8D4-CAB7-30A9-E0D1-FF90E1042C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34" name="Text Placeholder 11">
            <a:extLst>
              <a:ext uri="{FF2B5EF4-FFF2-40B4-BE49-F238E27FC236}">
                <a16:creationId xmlns:a16="http://schemas.microsoft.com/office/drawing/2014/main" id="{CC6394AE-9889-3497-D2CF-B3A13B83B639}"/>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dirty="0"/>
              <a:t>Speaker name (pronouns)</a:t>
            </a:r>
          </a:p>
        </p:txBody>
      </p:sp>
      <p:sp>
        <p:nvSpPr>
          <p:cNvPr id="35" name="Text Placeholder 15">
            <a:extLst>
              <a:ext uri="{FF2B5EF4-FFF2-40B4-BE49-F238E27FC236}">
                <a16:creationId xmlns:a16="http://schemas.microsoft.com/office/drawing/2014/main" id="{4558D9E7-4CE8-14F0-81B1-BC0FB89484F5}"/>
              </a:ext>
            </a:extLst>
          </p:cNvPr>
          <p:cNvSpPr>
            <a:spLocks noGrp="1"/>
          </p:cNvSpPr>
          <p:nvPr>
            <p:ph type="body" sz="quarter" idx="15" hasCustomPrompt="1"/>
          </p:nvPr>
        </p:nvSpPr>
        <p:spPr>
          <a:xfrm>
            <a:off x="426595" y="4946988"/>
            <a:ext cx="3702329" cy="535531"/>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Speaker job title</a:t>
            </a:r>
            <a:br>
              <a:rPr lang="en-US" dirty="0"/>
            </a:br>
            <a:r>
              <a:rPr lang="en-US" dirty="0"/>
              <a:t>Speaker company</a:t>
            </a:r>
          </a:p>
        </p:txBody>
      </p:sp>
      <p:sp>
        <p:nvSpPr>
          <p:cNvPr id="2" name="TextBox 1">
            <a:extLst>
              <a:ext uri="{FF2B5EF4-FFF2-40B4-BE49-F238E27FC236}">
                <a16:creationId xmlns:a16="http://schemas.microsoft.com/office/drawing/2014/main" id="{AABDFDB3-98F4-4A70-E1E9-6DC287A939E1}"/>
              </a:ext>
            </a:extLst>
          </p:cNvPr>
          <p:cNvSpPr txBox="1"/>
          <p:nvPr userDrawn="1"/>
        </p:nvSpPr>
        <p:spPr>
          <a:xfrm>
            <a:off x="330617" y="6392988"/>
            <a:ext cx="23647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mazon Ember Display"/>
                <a:ea typeface="+mn-ea"/>
                <a:cs typeface="+mn-cs"/>
              </a:rPr>
              <a:t>© 2025, Amazon Web Services, Inc. or its affiliates. All rights reserved</a:t>
            </a:r>
          </a:p>
        </p:txBody>
      </p:sp>
      <p:sp>
        <p:nvSpPr>
          <p:cNvPr id="13" name="Subtitle 2">
            <a:extLst>
              <a:ext uri="{FF2B5EF4-FFF2-40B4-BE49-F238E27FC236}">
                <a16:creationId xmlns:a16="http://schemas.microsoft.com/office/drawing/2014/main" id="{BA24688F-E4D3-455D-9B0B-AA55FFBE5DE2}"/>
              </a:ext>
            </a:extLst>
          </p:cNvPr>
          <p:cNvSpPr>
            <a:spLocks noGrp="1"/>
          </p:cNvSpPr>
          <p:nvPr>
            <p:ph type="subTitle" idx="1" hasCustomPrompt="1"/>
          </p:nvPr>
        </p:nvSpPr>
        <p:spPr>
          <a:xfrm>
            <a:off x="426595" y="3533486"/>
            <a:ext cx="6660005" cy="978729"/>
          </a:xfrm>
        </p:spPr>
        <p:txBody>
          <a:bodyPr wrap="square"/>
          <a:lstStyle>
            <a:lvl1pPr marL="0" indent="0" algn="l" defTabSz="914400" rtl="0" eaLnBrk="1" latinLnBrk="0" hangingPunct="1">
              <a:lnSpc>
                <a:spcPct val="90000"/>
              </a:lnSpc>
              <a:spcBef>
                <a:spcPts val="0"/>
              </a:spcBef>
              <a:spcAft>
                <a:spcPts val="0"/>
              </a:spcAft>
              <a:buClr>
                <a:schemeClr val="tx1"/>
              </a:buClr>
              <a:buSzPct val="90000"/>
              <a:buFont typeface="Arial" panose="020B0604020202020204" pitchFamily="34" charset="0"/>
              <a:buNone/>
              <a:tabLst/>
              <a:defRPr lang="en-US" sz="3200" b="0" i="0" kern="1200" cap="none" spc="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ustomer outcome/approved PDP tagline</a:t>
            </a:r>
          </a:p>
        </p:txBody>
      </p:sp>
      <p:sp>
        <p:nvSpPr>
          <p:cNvPr id="17" name="Title 1">
            <a:extLst>
              <a:ext uri="{FF2B5EF4-FFF2-40B4-BE49-F238E27FC236}">
                <a16:creationId xmlns:a16="http://schemas.microsoft.com/office/drawing/2014/main" id="{79961D1F-6D82-4C7B-979E-00AB8FB74D9A}"/>
              </a:ext>
            </a:extLst>
          </p:cNvPr>
          <p:cNvSpPr>
            <a:spLocks noGrp="1"/>
          </p:cNvSpPr>
          <p:nvPr>
            <p:ph type="ctrTitle" hasCustomPrompt="1"/>
          </p:nvPr>
        </p:nvSpPr>
        <p:spPr>
          <a:xfrm>
            <a:off x="426596" y="2746988"/>
            <a:ext cx="6660004" cy="757130"/>
          </a:xfrm>
        </p:spPr>
        <p:txBody>
          <a:bodyPr wrap="square" anchor="t" anchorCtr="0"/>
          <a:lstStyle>
            <a:lvl1pPr algn="l">
              <a:defRPr sz="4800">
                <a:solidFill>
                  <a:schemeClr val="bg1"/>
                </a:solidFill>
                <a:latin typeface="+mj-lt"/>
              </a:defRPr>
            </a:lvl1pPr>
          </a:lstStyle>
          <a:p>
            <a:r>
              <a:rPr lang="en-US" dirty="0"/>
              <a:t>First-use service name</a:t>
            </a:r>
          </a:p>
        </p:txBody>
      </p:sp>
    </p:spTree>
    <p:extLst>
      <p:ext uri="{BB962C8B-B14F-4D97-AF65-F5344CB8AC3E}">
        <p14:creationId xmlns:p14="http://schemas.microsoft.com/office/powerpoint/2010/main" val="1173470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9CB63E-38B8-FE5B-666A-D9CAD75A24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5B96BE-BEFA-47C5-B5F6-07D5B53EFBEF}"/>
              </a:ext>
            </a:extLst>
          </p:cNvPr>
          <p:cNvSpPr>
            <a:spLocks noGrp="1"/>
          </p:cNvSpPr>
          <p:nvPr>
            <p:ph type="title" hasCustomPrompt="1"/>
          </p:nvPr>
        </p:nvSpPr>
        <p:spPr>
          <a:xfrm>
            <a:off x="0" y="-660400"/>
            <a:ext cx="12192000" cy="638175"/>
          </a:xfrm>
        </p:spPr>
        <p:txBody>
          <a:bodyPr/>
          <a:lstStyle>
            <a:lvl1pPr>
              <a:defRPr sz="3600">
                <a:solidFill>
                  <a:schemeClr val="bg1">
                    <a:lumMod val="65000"/>
                    <a:lumOff val="35000"/>
                  </a:schemeClr>
                </a:solidFill>
              </a:defRPr>
            </a:lvl1pPr>
          </a:lstStyle>
          <a:p>
            <a:r>
              <a:rPr lang="en-US" dirty="0"/>
              <a:t>Walk-in layout</a:t>
            </a:r>
          </a:p>
        </p:txBody>
      </p:sp>
      <p:pic>
        <p:nvPicPr>
          <p:cNvPr id="6" name="Graphic 5">
            <a:extLst>
              <a:ext uri="{FF2B5EF4-FFF2-40B4-BE49-F238E27FC236}">
                <a16:creationId xmlns:a16="http://schemas.microsoft.com/office/drawing/2014/main" id="{8417F2A1-98C3-4830-9E59-A97205CFBCD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512" y="2678010"/>
            <a:ext cx="3392027" cy="1093890"/>
          </a:xfrm>
          <a:prstGeom prst="rect">
            <a:avLst/>
          </a:prstGeom>
        </p:spPr>
      </p:pic>
    </p:spTree>
    <p:extLst>
      <p:ext uri="{BB962C8B-B14F-4D97-AF65-F5344CB8AC3E}">
        <p14:creationId xmlns:p14="http://schemas.microsoft.com/office/powerpoint/2010/main" val="1871903637"/>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38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A2C6C5-52CD-21BC-0C46-58751D26AE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8"/>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pic>
        <p:nvPicPr>
          <p:cNvPr id="11" name="Picture 10">
            <a:extLst>
              <a:ext uri="{FF2B5EF4-FFF2-40B4-BE49-F238E27FC236}">
                <a16:creationId xmlns:a16="http://schemas.microsoft.com/office/drawing/2014/main" id="{C8FDA763-3CFE-4A8E-A7A4-4971BDA42D9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3960433813"/>
      </p:ext>
    </p:extLst>
  </p:cSld>
  <p:clrMapOvr>
    <a:masterClrMapping/>
  </p:clrMapOvr>
  <p:transition>
    <p:fade/>
  </p:transition>
  <p:extLst>
    <p:ext uri="{DCECCB84-F9BA-43D5-87BE-67443E8EF086}">
      <p15:sldGuideLst xmlns:p15="http://schemas.microsoft.com/office/powerpoint/2012/main">
        <p15:guide id="1" pos="21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Two Speaker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55355-518E-A9CA-29FB-FFBD27B358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7"/>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4456766" y="4692846"/>
            <a:ext cx="370232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dirty="0"/>
              <a:t>Speaker name</a:t>
            </a:r>
          </a:p>
        </p:txBody>
      </p:sp>
      <p:sp>
        <p:nvSpPr>
          <p:cNvPr id="6" name="Text Placeholder 5">
            <a:extLst>
              <a:ext uri="{FF2B5EF4-FFF2-40B4-BE49-F238E27FC236}">
                <a16:creationId xmlns:a16="http://schemas.microsoft.com/office/drawing/2014/main" id="{79AE8770-95C8-4BFC-8D8E-818B753038EA}"/>
              </a:ext>
            </a:extLst>
          </p:cNvPr>
          <p:cNvSpPr>
            <a:spLocks noGrp="1"/>
          </p:cNvSpPr>
          <p:nvPr>
            <p:ph type="body" sz="quarter" idx="14" hasCustomPrompt="1"/>
          </p:nvPr>
        </p:nvSpPr>
        <p:spPr>
          <a:xfrm>
            <a:off x="4456766" y="5066907"/>
            <a:ext cx="3702329" cy="757130"/>
          </a:xfrm>
        </p:spPr>
        <p:txBody>
          <a:bodyPr/>
          <a:lstStyle>
            <a:lvl1pPr marL="0" indent="0">
              <a:spcAft>
                <a:spcPts val="300"/>
              </a:spcAft>
              <a:buNone/>
              <a:defRPr sz="1600"/>
            </a:lvl1pPr>
          </a:lstStyle>
          <a:p>
            <a:pPr lvl="0"/>
            <a:r>
              <a:rPr lang="en-US" dirty="0"/>
              <a:t>(pronouns)</a:t>
            </a:r>
            <a:br>
              <a:rPr lang="en-US" dirty="0"/>
            </a:br>
            <a:r>
              <a:rPr lang="en-US" dirty="0"/>
              <a:t>Job title</a:t>
            </a:r>
            <a:br>
              <a:rPr lang="en-US" dirty="0"/>
            </a:br>
            <a:r>
              <a:rPr lang="en-US" dirty="0"/>
              <a:t>Company</a:t>
            </a:r>
          </a:p>
        </p:txBody>
      </p:sp>
      <p:pic>
        <p:nvPicPr>
          <p:cNvPr id="13" name="Picture 12">
            <a:extLst>
              <a:ext uri="{FF2B5EF4-FFF2-40B4-BE49-F238E27FC236}">
                <a16:creationId xmlns:a16="http://schemas.microsoft.com/office/drawing/2014/main" id="{BEAD6224-65DB-4349-8ABF-C9D9E063E265}"/>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629402872"/>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Three Speaker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B77736-F964-9E03-7D10-969905EB76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7" y="4692846"/>
            <a:ext cx="266136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7"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3129724" y="4692846"/>
            <a:ext cx="266136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dirty="0"/>
              <a:t>Speaker name</a:t>
            </a:r>
          </a:p>
        </p:txBody>
      </p:sp>
      <p:sp>
        <p:nvSpPr>
          <p:cNvPr id="5" name="Text Placeholder 4">
            <a:extLst>
              <a:ext uri="{FF2B5EF4-FFF2-40B4-BE49-F238E27FC236}">
                <a16:creationId xmlns:a16="http://schemas.microsoft.com/office/drawing/2014/main" id="{A98773FF-A575-4D5D-AC30-DAFFB441F795}"/>
              </a:ext>
            </a:extLst>
          </p:cNvPr>
          <p:cNvSpPr>
            <a:spLocks noGrp="1"/>
          </p:cNvSpPr>
          <p:nvPr>
            <p:ph type="body" sz="quarter" idx="15" hasCustomPrompt="1"/>
          </p:nvPr>
        </p:nvSpPr>
        <p:spPr>
          <a:xfrm>
            <a:off x="5936531" y="4692846"/>
            <a:ext cx="2661369" cy="369332"/>
          </a:xfrm>
        </p:spPr>
        <p:txBody>
          <a:bodyPr/>
          <a:lstStyle>
            <a:lvl1pPr marL="0" indent="0">
              <a:buNone/>
              <a:defRPr sz="2000" b="1"/>
            </a:lvl1pPr>
          </a:lstStyle>
          <a:p>
            <a:pPr lvl="0"/>
            <a:r>
              <a:rPr lang="en-US" dirty="0"/>
              <a:t>Speaker name</a:t>
            </a:r>
          </a:p>
        </p:txBody>
      </p:sp>
      <p:sp>
        <p:nvSpPr>
          <p:cNvPr id="17" name="Text Placeholder 15">
            <a:extLst>
              <a:ext uri="{FF2B5EF4-FFF2-40B4-BE49-F238E27FC236}">
                <a16:creationId xmlns:a16="http://schemas.microsoft.com/office/drawing/2014/main" id="{E8B14D59-1495-4288-ACD8-22C48054FD10}"/>
              </a:ext>
            </a:extLst>
          </p:cNvPr>
          <p:cNvSpPr>
            <a:spLocks noGrp="1"/>
          </p:cNvSpPr>
          <p:nvPr>
            <p:ph type="body" sz="quarter" idx="16" hasCustomPrompt="1"/>
          </p:nvPr>
        </p:nvSpPr>
        <p:spPr>
          <a:xfrm>
            <a:off x="3129724"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18" name="Text Placeholder 15">
            <a:extLst>
              <a:ext uri="{FF2B5EF4-FFF2-40B4-BE49-F238E27FC236}">
                <a16:creationId xmlns:a16="http://schemas.microsoft.com/office/drawing/2014/main" id="{ACBDE7C4-64AF-4CA5-A203-DC58B71673A5}"/>
              </a:ext>
            </a:extLst>
          </p:cNvPr>
          <p:cNvSpPr>
            <a:spLocks noGrp="1"/>
          </p:cNvSpPr>
          <p:nvPr>
            <p:ph type="body" sz="quarter" idx="17" hasCustomPrompt="1"/>
          </p:nvPr>
        </p:nvSpPr>
        <p:spPr>
          <a:xfrm>
            <a:off x="5936531"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pic>
        <p:nvPicPr>
          <p:cNvPr id="15" name="Picture 14">
            <a:extLst>
              <a:ext uri="{FF2B5EF4-FFF2-40B4-BE49-F238E27FC236}">
                <a16:creationId xmlns:a16="http://schemas.microsoft.com/office/drawing/2014/main" id="{A06CB43E-FDA1-4D97-9EDD-CEF236C9633A}"/>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52060413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304800" y="1485900"/>
            <a:ext cx="11582400" cy="3570208"/>
          </a:xfrm>
        </p:spPr>
        <p:txBody>
          <a:bodyPr vert="horz" lIns="0" tIns="45720" rIns="0" bIns="45720" rtlCol="0">
            <a:spAutoFit/>
          </a:bodyPr>
          <a:lstStyle>
            <a:lvl1pPr marL="0" indent="0">
              <a:spcAft>
                <a:spcPts val="3000"/>
              </a:spcAft>
              <a:buNone/>
              <a:defRPr lang="en-US" smtClean="0"/>
            </a:lvl1pPr>
            <a:lvl2pPr marL="0" indent="0">
              <a:spcAft>
                <a:spcPts val="3000"/>
              </a:spcAft>
              <a:buNone/>
              <a:defRPr lang="en-US" sz="2800" smtClean="0"/>
            </a:lvl2pPr>
            <a:lvl3pPr marL="0" indent="0">
              <a:spcAft>
                <a:spcPts val="3000"/>
              </a:spcAft>
              <a:buNone/>
              <a:defRPr lang="en-US" sz="2800" smtClean="0"/>
            </a:lvl3pPr>
            <a:lvl4pPr marL="0" indent="0">
              <a:spcAft>
                <a:spcPts val="3000"/>
              </a:spcAft>
              <a:buNone/>
              <a:defRPr lang="en-US" sz="2800" smtClean="0"/>
            </a:lvl4pPr>
            <a:lvl5pPr marL="0" indent="0">
              <a:spcAft>
                <a:spcPts val="3000"/>
              </a:spcAft>
              <a:buNone/>
              <a:defRPr lang="en-US" sz="2800"/>
            </a:lvl5pPr>
          </a:lstStyle>
          <a:p>
            <a:pPr marL="228600" lvl="0" indent="-228600">
              <a:spcAft>
                <a:spcPts val="3000"/>
              </a:spcAft>
              <a:buClr>
                <a:schemeClr val="tx1"/>
              </a:buClr>
            </a:pPr>
            <a:r>
              <a:rPr lang="en-US" dirty="0"/>
              <a:t>Enter agenda items</a:t>
            </a:r>
          </a:p>
          <a:p>
            <a:pPr marL="457200" lvl="1" indent="-457200">
              <a:spcAft>
                <a:spcPts val="3000"/>
              </a:spcAft>
              <a:buClr>
                <a:schemeClr val="tx1"/>
              </a:buClr>
            </a:pPr>
            <a:r>
              <a:rPr lang="en-US" dirty="0"/>
              <a:t>Second level</a:t>
            </a:r>
          </a:p>
          <a:p>
            <a:pPr marL="457200" lvl="2" indent="-457200">
              <a:spcAft>
                <a:spcPts val="3000"/>
              </a:spcAft>
              <a:buClr>
                <a:schemeClr val="tx1"/>
              </a:buClr>
            </a:pPr>
            <a:r>
              <a:rPr lang="en-US" dirty="0"/>
              <a:t>Third level</a:t>
            </a:r>
          </a:p>
          <a:p>
            <a:pPr marL="457200" lvl="3" indent="-457200">
              <a:spcAft>
                <a:spcPts val="3000"/>
              </a:spcAft>
              <a:buClr>
                <a:schemeClr val="tx1"/>
              </a:buClr>
            </a:pPr>
            <a:r>
              <a:rPr lang="en-US" dirty="0"/>
              <a:t>Fourth level</a:t>
            </a:r>
          </a:p>
          <a:p>
            <a:pPr marL="457200" lvl="4" indent="-457200">
              <a:spcAft>
                <a:spcPts val="3000"/>
              </a:spcAft>
              <a:buClr>
                <a:schemeClr val="tx1"/>
              </a:buClr>
            </a:pPr>
            <a:r>
              <a:rPr lang="en-US" dirty="0"/>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304800" y="304800"/>
            <a:ext cx="11582400" cy="638175"/>
          </a:xfrm>
        </p:spPr>
        <p:txBody>
          <a:bodyPr/>
          <a:lstStyle>
            <a:lvl1pPr>
              <a:defRPr/>
            </a:lvl1pPr>
          </a:lstStyle>
          <a:p>
            <a:r>
              <a:rPr lang="en-US" dirty="0"/>
              <a:t>Agenda layout</a:t>
            </a:r>
          </a:p>
        </p:txBody>
      </p:sp>
      <p:pic>
        <p:nvPicPr>
          <p:cNvPr id="7" name="Picture 6">
            <a:extLst>
              <a:ext uri="{FF2B5EF4-FFF2-40B4-BE49-F238E27FC236}">
                <a16:creationId xmlns:a16="http://schemas.microsoft.com/office/drawing/2014/main" id="{D4BF8F3F-C59D-447F-A18C-4F458C5EF4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90046675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only layout</a:t>
            </a:r>
          </a:p>
        </p:txBody>
      </p:sp>
      <p:pic>
        <p:nvPicPr>
          <p:cNvPr id="5" name="Picture 4">
            <a:extLst>
              <a:ext uri="{FF2B5EF4-FFF2-40B4-BE49-F238E27FC236}">
                <a16:creationId xmlns:a16="http://schemas.microsoft.com/office/drawing/2014/main" id="{402F0F9B-4E5D-4C0C-B506-59FB29965EB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4492596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192001"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5231781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with 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5508CC-A87F-2A21-7F3F-FB80671107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only layout with art</a:t>
            </a:r>
          </a:p>
        </p:txBody>
      </p:sp>
      <p:sp>
        <p:nvSpPr>
          <p:cNvPr id="5" name="TextBox 3">
            <a:extLst>
              <a:ext uri="{FF2B5EF4-FFF2-40B4-BE49-F238E27FC236}">
                <a16:creationId xmlns:a16="http://schemas.microsoft.com/office/drawing/2014/main" id="{84A0FAA4-F370-4554-963C-0621DBAE900C}"/>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6" name="Picture 5">
            <a:extLst>
              <a:ext uri="{FF2B5EF4-FFF2-40B4-BE49-F238E27FC236}">
                <a16:creationId xmlns:a16="http://schemas.microsoft.com/office/drawing/2014/main" id="{8DD82C82-FAA4-4457-8019-A527148D48D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7789571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and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pic>
        <p:nvPicPr>
          <p:cNvPr id="6" name="Picture 5">
            <a:extLst>
              <a:ext uri="{FF2B5EF4-FFF2-40B4-BE49-F238E27FC236}">
                <a16:creationId xmlns:a16="http://schemas.microsoft.com/office/drawing/2014/main" id="{EAC6A24E-644A-47D1-A743-FAAB09271A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564320984"/>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0" y="-647700"/>
            <a:ext cx="11925300" cy="638175"/>
          </a:xfrm>
        </p:spPr>
        <p:txBody>
          <a:bodyPr/>
          <a:lstStyle>
            <a:lvl1pPr>
              <a:defRPr sz="3600">
                <a:solidFill>
                  <a:schemeClr val="bg1">
                    <a:lumMod val="65000"/>
                    <a:lumOff val="35000"/>
                  </a:schemeClr>
                </a:solidFill>
              </a:defRPr>
            </a:lvl1pPr>
          </a:lstStyle>
          <a:p>
            <a:r>
              <a:rPr lang="en-US" dirty="0"/>
              <a:t>Blank layout (enter descriptive title here for accessibility)</a:t>
            </a:r>
          </a:p>
        </p:txBody>
      </p:sp>
      <p:pic>
        <p:nvPicPr>
          <p:cNvPr id="4" name="Picture 3">
            <a:extLst>
              <a:ext uri="{FF2B5EF4-FFF2-40B4-BE49-F238E27FC236}">
                <a16:creationId xmlns:a16="http://schemas.microsoft.com/office/drawing/2014/main" id="{28547A17-167C-4B7C-9EB3-78A50E0839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124726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dirty="0"/>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0D7547C9-19DE-47C5-B92E-D961CE0CDE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51285008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DEF8F-3F3F-4176-AAC6-6F214D9A9558}"/>
              </a:ext>
            </a:extLst>
          </p:cNvPr>
          <p:cNvSpPr>
            <a:spLocks noGrp="1"/>
          </p:cNvSpPr>
          <p:nvPr>
            <p:ph type="title" hasCustomPrompt="1"/>
          </p:nvPr>
        </p:nvSpPr>
        <p:spPr>
          <a:xfrm>
            <a:off x="304800" y="304800"/>
            <a:ext cx="5638800" cy="638175"/>
          </a:xfrm>
        </p:spPr>
        <p:txBody>
          <a:bodyPr/>
          <a:lstStyle>
            <a:lvl1pPr>
              <a:defRPr/>
            </a:lvl1pPr>
          </a:lstStyle>
          <a:p>
            <a:r>
              <a:rPr lang="en-US" dirty="0"/>
              <a:t>Title, content, image</a:t>
            </a:r>
          </a:p>
        </p:txBody>
      </p:sp>
      <p:sp>
        <p:nvSpPr>
          <p:cNvPr id="9" name="Picture Placeholder 8">
            <a:extLst>
              <a:ext uri="{FF2B5EF4-FFF2-40B4-BE49-F238E27FC236}">
                <a16:creationId xmlns:a16="http://schemas.microsoft.com/office/drawing/2014/main" id="{14F48D58-FFF9-4D88-86EA-5381B3B4300A}"/>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dirty="0"/>
              <a:t>Click icon to insert image, </a:t>
            </a:r>
            <a:br>
              <a:rPr lang="en-US" dirty="0"/>
            </a:br>
            <a:r>
              <a:rPr lang="en-US" dirty="0"/>
              <a:t>or select placeholder </a:t>
            </a:r>
            <a:br>
              <a:rPr lang="en-US" dirty="0"/>
            </a:br>
            <a:r>
              <a:rPr lang="en-US" dirty="0"/>
              <a:t>and paste image</a:t>
            </a:r>
          </a:p>
          <a:p>
            <a:endParaRPr lang="en-US" dirty="0"/>
          </a:p>
          <a:p>
            <a:endParaRPr lang="en-US" dirty="0"/>
          </a:p>
          <a:p>
            <a:endParaRPr lang="en-US" dirty="0"/>
          </a:p>
        </p:txBody>
      </p:sp>
      <p:sp>
        <p:nvSpPr>
          <p:cNvPr id="11" name="Content Placeholder 10">
            <a:extLst>
              <a:ext uri="{FF2B5EF4-FFF2-40B4-BE49-F238E27FC236}">
                <a16:creationId xmlns:a16="http://schemas.microsoft.com/office/drawing/2014/main" id="{815FDEA2-616E-44F0-9C9D-8C4D782AA50E}"/>
              </a:ext>
            </a:extLst>
          </p:cNvPr>
          <p:cNvSpPr>
            <a:spLocks noGrp="1"/>
          </p:cNvSpPr>
          <p:nvPr>
            <p:ph sz="quarter" idx="15" hasCustomPrompt="1"/>
          </p:nvPr>
        </p:nvSpPr>
        <p:spPr>
          <a:xfrm>
            <a:off x="304800" y="1485900"/>
            <a:ext cx="5638800" cy="4724400"/>
          </a:xfrm>
        </p:spPr>
        <p:txBody>
          <a:bodyPr>
            <a:noAutofit/>
          </a:bodyPr>
          <a:lstStyle>
            <a:lvl1pPr>
              <a:defRPr/>
            </a:lvl1pPr>
          </a:lstStyle>
          <a:p>
            <a:pPr lvl="0"/>
            <a:r>
              <a:rPr lang="en-US" dirty="0"/>
              <a:t>Enter slide content</a:t>
            </a:r>
          </a:p>
          <a:p>
            <a:pPr lvl="1"/>
            <a:r>
              <a:rPr lang="en-US" dirty="0"/>
              <a:t>Second level</a:t>
            </a:r>
          </a:p>
          <a:p>
            <a:pPr lvl="2"/>
            <a:r>
              <a:rPr lang="en-US" dirty="0"/>
              <a:t>Third level</a:t>
            </a:r>
          </a:p>
        </p:txBody>
      </p:sp>
      <p:pic>
        <p:nvPicPr>
          <p:cNvPr id="6" name="Picture 5">
            <a:extLst>
              <a:ext uri="{FF2B5EF4-FFF2-40B4-BE49-F238E27FC236}">
                <a16:creationId xmlns:a16="http://schemas.microsoft.com/office/drawing/2014/main" id="{692A2F1A-4E48-4381-8802-9890CF36A3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704791162"/>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dirty="0"/>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304800" y="1485900"/>
            <a:ext cx="11582400" cy="2049792"/>
          </a:xfrm>
        </p:spPr>
        <p:txBody>
          <a:bodyPr/>
          <a:lstStyle>
            <a:lvl1pPr>
              <a:defRPr/>
            </a:lvl1pPr>
          </a:lstStyle>
          <a:p>
            <a:pPr lvl="0"/>
            <a:r>
              <a:rPr lang="en-US" dirty="0"/>
              <a:t>Enter bulleted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77B27E33-F9A1-4B7E-98F2-95DDFC9626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8723648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itle, subtitle, an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304800" y="1714500"/>
            <a:ext cx="115824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12F640AB-C306-447F-B13B-6F1737B84D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80365638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itle, subtitle, and bullete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11582400" cy="2049792"/>
          </a:xfrm>
        </p:spPr>
        <p:txBody>
          <a:bodyPr/>
          <a:lstStyle>
            <a:lvl1pPr>
              <a:defRPr/>
            </a:lvl1pPr>
          </a:lstStyle>
          <a:p>
            <a:pPr lvl="0"/>
            <a:r>
              <a:rPr lang="en-US" dirty="0"/>
              <a:t>Enter bulleted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4BF271B-9304-419B-B9A2-7C10028868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548287136"/>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7B403FA8-4F51-4E88-9613-94CE32CA3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69220308"/>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1430D0AE-4901-4B7C-8638-4A6638176F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611638606"/>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with Night Light">
    <p:bg>
      <p:bgPr>
        <a:solidFill>
          <a:schemeClr val="bg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CDED8CC-A655-FE0E-B52B-9C98D374A097}"/>
              </a:ext>
            </a:extLst>
          </p:cNvPr>
          <p:cNvSpPr/>
          <p:nvPr userDrawn="1"/>
        </p:nvSpPr>
        <p:spPr>
          <a:xfrm>
            <a:off x="668280" y="3774695"/>
            <a:ext cx="11148466" cy="8990648"/>
          </a:xfrm>
          <a:prstGeom prst="ellipse">
            <a:avLst/>
          </a:prstGeom>
          <a:gradFill flip="none" rotWithShape="1">
            <a:gsLst>
              <a:gs pos="0">
                <a:schemeClr val="accent5">
                  <a:lumMod val="60000"/>
                  <a:lumOff val="40000"/>
                  <a:alpha val="65000"/>
                </a:schemeClr>
              </a:gs>
              <a:gs pos="78000">
                <a:schemeClr val="accent3">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Display"/>
              <a:ea typeface="+mn-ea"/>
              <a:cs typeface="+mn-cs"/>
            </a:endParaRPr>
          </a:p>
        </p:txBody>
      </p:sp>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192001"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4" name="Rectangle 3">
            <a:extLst>
              <a:ext uri="{FF2B5EF4-FFF2-40B4-BE49-F238E27FC236}">
                <a16:creationId xmlns:a16="http://schemas.microsoft.com/office/drawing/2014/main" id="{379F3C83-809B-6A70-3AD1-6DA027C1E179}"/>
              </a:ext>
            </a:extLst>
          </p:cNvPr>
          <p:cNvSpPr/>
          <p:nvPr userDrawn="1"/>
        </p:nvSpPr>
        <p:spPr>
          <a:xfrm>
            <a:off x="-723900" y="6858000"/>
            <a:ext cx="13639800" cy="5581650"/>
          </a:xfrm>
          <a:prstGeom prst="rect">
            <a:avLst/>
          </a:prstGeom>
          <a:solidFill>
            <a:srgbClr val="E6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Tree>
    <p:extLst>
      <p:ext uri="{BB962C8B-B14F-4D97-AF65-F5344CB8AC3E}">
        <p14:creationId xmlns:p14="http://schemas.microsoft.com/office/powerpoint/2010/main" val="32311243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EDE09516-EAD8-4522-97B6-D67B82BDA58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898794846"/>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304800" y="17145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B8024B1D-018E-457E-ADB0-0510A86732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8901545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5B641-AA35-4952-8BD0-57A5E6BAC6C0}"/>
              </a:ext>
            </a:extLst>
          </p:cNvPr>
          <p:cNvSpPr>
            <a:spLocks noGrp="1"/>
          </p:cNvSpPr>
          <p:nvPr>
            <p:ph type="title" hasCustomPrompt="1"/>
          </p:nvPr>
        </p:nvSpPr>
        <p:spPr/>
        <p:txBody>
          <a:bodyPr/>
          <a:lstStyle>
            <a:lvl1pPr>
              <a:defRPr/>
            </a:lvl1pPr>
          </a:lstStyle>
          <a:p>
            <a:r>
              <a:rPr lang="en-US" dirty="0"/>
              <a:t>Code layout</a:t>
            </a:r>
          </a:p>
        </p:txBody>
      </p:sp>
      <p:sp>
        <p:nvSpPr>
          <p:cNvPr id="7" name="Content Placeholder 6">
            <a:extLst>
              <a:ext uri="{FF2B5EF4-FFF2-40B4-BE49-F238E27FC236}">
                <a16:creationId xmlns:a16="http://schemas.microsoft.com/office/drawing/2014/main" id="{BBBB28F6-ED88-4F6C-98C2-239A1B8050D8}"/>
              </a:ext>
            </a:extLst>
          </p:cNvPr>
          <p:cNvSpPr>
            <a:spLocks noGrp="1"/>
          </p:cNvSpPr>
          <p:nvPr>
            <p:ph sz="quarter" idx="10" hasCustomPrompt="1"/>
          </p:nvPr>
        </p:nvSpPr>
        <p:spPr>
          <a:xfrm>
            <a:off x="304800" y="1485900"/>
            <a:ext cx="115824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Type or paste plain-text code here, or click icon to add imag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17BC4998-72A6-4E94-81BD-41A1511259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6357871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Code layout, two columns</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8A5EFA6F-B759-42B9-9EC8-88192431FA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646309321"/>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90A961-DBEA-44D4-E1FD-7DD7B71122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p:spPr>
        <p:txBody>
          <a:bodyPr/>
          <a:lstStyle>
            <a:lvl1pPr>
              <a:defRPr sz="4400"/>
            </a:lvl1pPr>
          </a:lstStyle>
          <a:p>
            <a:r>
              <a:rPr lang="en-US" dirty="0"/>
              <a:t>Enter quote here. Omit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424732"/>
          </a:xfrm>
        </p:spPr>
        <p:txBody>
          <a:bodyPr/>
          <a:lstStyle>
            <a:lvl1pPr marL="0" indent="0">
              <a:buNone/>
              <a:defRPr sz="2400" b="1"/>
            </a:lvl1pPr>
          </a:lstStyle>
          <a:p>
            <a:pPr lvl="0"/>
            <a:r>
              <a:rPr lang="en-US" dirty="0"/>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69332"/>
          </a:xfrm>
        </p:spPr>
        <p:txBody>
          <a:bodyPr/>
          <a:lstStyle>
            <a:lvl1pPr marL="0" indent="0">
              <a:buNone/>
              <a:defRPr sz="2000"/>
            </a:lvl1pPr>
          </a:lstStyle>
          <a:p>
            <a:pPr lvl="0"/>
            <a:r>
              <a:rPr lang="en-US" dirty="0"/>
              <a:t>Enter quoted person’s affiliation</a:t>
            </a:r>
          </a:p>
        </p:txBody>
      </p:sp>
      <p:sp>
        <p:nvSpPr>
          <p:cNvPr id="13" name="TextBox 3">
            <a:extLst>
              <a:ext uri="{FF2B5EF4-FFF2-40B4-BE49-F238E27FC236}">
                <a16:creationId xmlns:a16="http://schemas.microsoft.com/office/drawing/2014/main" id="{8ACB3D16-6816-4239-9D78-8C8607D990F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4" name="Picture 13">
            <a:extLst>
              <a:ext uri="{FF2B5EF4-FFF2-40B4-BE49-F238E27FC236}">
                <a16:creationId xmlns:a16="http://schemas.microsoft.com/office/drawing/2014/main" id="{C4453ABE-4B3B-4785-801A-97113C7EBAE1}"/>
              </a:ext>
            </a:extLst>
          </p:cNvPr>
          <p:cNvPicPr>
            <a:picLocks noChangeAspect="1"/>
          </p:cNvPicPr>
          <p:nvPr userDrawn="1"/>
        </p:nvPicPr>
        <p:blipFill>
          <a:blip r:embed="rId3"/>
          <a:srcRect/>
          <a:stretch/>
        </p:blipFill>
        <p:spPr>
          <a:xfrm>
            <a:off x="292501" y="6428661"/>
            <a:ext cx="388818" cy="219592"/>
          </a:xfrm>
          <a:prstGeom prst="rect">
            <a:avLst/>
          </a:prstGeom>
        </p:spPr>
      </p:pic>
      <p:pic>
        <p:nvPicPr>
          <p:cNvPr id="6" name="Picture 5">
            <a:extLst>
              <a:ext uri="{FF2B5EF4-FFF2-40B4-BE49-F238E27FC236}">
                <a16:creationId xmlns:a16="http://schemas.microsoft.com/office/drawing/2014/main" id="{D61735F0-6B63-48CA-B727-F1A6A472C23D}"/>
              </a:ext>
            </a:extLst>
          </p:cNvPr>
          <p:cNvPicPr>
            <a:picLocks noChangeAspect="1"/>
          </p:cNvPicPr>
          <p:nvPr userDrawn="1"/>
        </p:nvPicPr>
        <p:blipFill rotWithShape="1">
          <a:blip r:embed="rId4"/>
          <a:srcRect l="35444" t="25279" r="36166" b="58334"/>
          <a:stretch/>
        </p:blipFill>
        <p:spPr>
          <a:xfrm>
            <a:off x="304800" y="916872"/>
            <a:ext cx="855146" cy="585308"/>
          </a:xfrm>
          <a:prstGeom prst="rect">
            <a:avLst/>
          </a:prstGeom>
        </p:spPr>
      </p:pic>
    </p:spTree>
    <p:extLst>
      <p:ext uri="{BB962C8B-B14F-4D97-AF65-F5344CB8AC3E}">
        <p14:creationId xmlns:p14="http://schemas.microsoft.com/office/powerpoint/2010/main" val="460490681"/>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FA8EB-0600-F8CB-1D5D-ADAF85CCDB40}"/>
              </a:ext>
            </a:extLst>
          </p:cNvPr>
          <p:cNvPicPr>
            <a:picLocks noChangeAspect="1"/>
          </p:cNvPicPr>
          <p:nvPr userDrawn="1"/>
        </p:nvPicPr>
        <p:blipFill>
          <a:blip r:embed="rId2">
            <a:extLst>
              <a:ext uri="{28A0092B-C50C-407E-A947-70E740481C1C}">
                <a14:useLocalDpi xmlns:a14="http://schemas.microsoft.com/office/drawing/2010/main" val="0"/>
              </a:ext>
            </a:extLst>
          </a:blip>
          <a:srcRect l="11882" t="21506" r="21506" b="11882"/>
          <a:stretch/>
        </p:blipFill>
        <p:spPr>
          <a:xfrm>
            <a:off x="0" y="-1"/>
            <a:ext cx="12192000" cy="6858001"/>
          </a:xfrm>
          <a:prstGeom prst="rect">
            <a:avLst/>
          </a:prstGeom>
        </p:spPr>
      </p:pic>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304800" y="2707821"/>
            <a:ext cx="8191500" cy="1442355"/>
          </a:xfrm>
        </p:spPr>
        <p:txBody>
          <a:bodyPr anchor="ctr"/>
          <a:lstStyle>
            <a:lvl1pPr>
              <a:defRPr sz="4400"/>
            </a:lvl1pPr>
          </a:lstStyle>
          <a:p>
            <a:r>
              <a:rPr lang="en-US" dirty="0"/>
              <a:t>Section divider – </a:t>
            </a:r>
            <a:br>
              <a:rPr lang="en-US" dirty="0"/>
            </a:br>
            <a:r>
              <a:rPr lang="en-US" dirty="0"/>
              <a:t>Enter section name here</a:t>
            </a:r>
          </a:p>
        </p:txBody>
      </p:sp>
      <p:sp>
        <p:nvSpPr>
          <p:cNvPr id="5" name="TextBox 3">
            <a:extLst>
              <a:ext uri="{FF2B5EF4-FFF2-40B4-BE49-F238E27FC236}">
                <a16:creationId xmlns:a16="http://schemas.microsoft.com/office/drawing/2014/main" id="{8346ACD8-81A7-4692-9AFD-C9752EC695DD}"/>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8" name="Picture 7">
            <a:extLst>
              <a:ext uri="{FF2B5EF4-FFF2-40B4-BE49-F238E27FC236}">
                <a16:creationId xmlns:a16="http://schemas.microsoft.com/office/drawing/2014/main" id="{853D8AE1-0FD2-4DEF-8808-670A058C1CE3}"/>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9846111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dirty="0"/>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192000" cy="638175"/>
          </a:xfrm>
        </p:spPr>
        <p:txBody>
          <a:bodyPr/>
          <a:lstStyle>
            <a:lvl1pPr>
              <a:defRPr sz="3600">
                <a:solidFill>
                  <a:schemeClr val="bg1">
                    <a:lumMod val="65000"/>
                    <a:lumOff val="35000"/>
                  </a:schemeClr>
                </a:solidFill>
              </a:defRPr>
            </a:lvl1pPr>
          </a:lstStyle>
          <a:p>
            <a:r>
              <a:rPr lang="en-US" dirty="0"/>
              <a:t>Video layout (enter descriptive title here for accessibility)</a:t>
            </a:r>
          </a:p>
        </p:txBody>
      </p:sp>
      <p:pic>
        <p:nvPicPr>
          <p:cNvPr id="6" name="Picture 5">
            <a:extLst>
              <a:ext uri="{FF2B5EF4-FFF2-40B4-BE49-F238E27FC236}">
                <a16:creationId xmlns:a16="http://schemas.microsoft.com/office/drawing/2014/main" id="{2ECA4397-C1FB-44F1-9E3B-33384D2CDD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7065225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10167-6731-422B-AAF3-3DCD022FDA3A}"/>
              </a:ext>
            </a:extLst>
          </p:cNvPr>
          <p:cNvSpPr>
            <a:spLocks noGrp="1"/>
          </p:cNvSpPr>
          <p:nvPr>
            <p:ph type="title" hasCustomPrompt="1"/>
          </p:nvPr>
        </p:nvSpPr>
        <p:spPr>
          <a:xfrm>
            <a:off x="304800" y="304800"/>
            <a:ext cx="11582400" cy="638175"/>
          </a:xfrm>
        </p:spPr>
        <p:txBody>
          <a:bodyPr/>
          <a:lstStyle>
            <a:lvl1pPr>
              <a:defRPr/>
            </a:lvl1pPr>
          </a:lstStyle>
          <a:p>
            <a:r>
              <a:rPr lang="en-US" dirty="0"/>
              <a:t>Comparison layout</a:t>
            </a:r>
          </a:p>
        </p:txBody>
      </p:sp>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304800"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304800" y="1989137"/>
            <a:ext cx="5676897"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3"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1989137"/>
            <a:ext cx="5676896"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209C08B5-408C-4416-9897-9FC5594CC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507648339"/>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EC130-06E7-4370-BE1F-6B09EE729241}"/>
              </a:ext>
            </a:extLst>
          </p:cNvPr>
          <p:cNvSpPr>
            <a:spLocks noGrp="1"/>
          </p:cNvSpPr>
          <p:nvPr>
            <p:ph type="title" hasCustomPrompt="1"/>
          </p:nvPr>
        </p:nvSpPr>
        <p:spPr>
          <a:xfrm>
            <a:off x="304800" y="304800"/>
            <a:ext cx="4152900" cy="1181100"/>
          </a:xfrm>
        </p:spPr>
        <p:txBody>
          <a:bodyPr anchor="t"/>
          <a:lstStyle>
            <a:lvl1pPr>
              <a:defRPr sz="4000"/>
            </a:lvl1pPr>
          </a:lstStyle>
          <a:p>
            <a:r>
              <a:rPr lang="en-US" dirty="0"/>
              <a:t>Content with caption layout</a:t>
            </a:r>
          </a:p>
        </p:txBody>
      </p:sp>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04799"/>
            <a:ext cx="6858000" cy="5905501"/>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304800" y="2181224"/>
            <a:ext cx="41529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on</a:t>
            </a:r>
          </a:p>
        </p:txBody>
      </p:sp>
      <p:pic>
        <p:nvPicPr>
          <p:cNvPr id="6" name="Picture 5">
            <a:extLst>
              <a:ext uri="{FF2B5EF4-FFF2-40B4-BE49-F238E27FC236}">
                <a16:creationId xmlns:a16="http://schemas.microsoft.com/office/drawing/2014/main" id="{AFC44287-B2A7-4C95-A779-3F4151ACF3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547594262"/>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88CF-49CB-49EE-AEAE-AF86931C7892}"/>
              </a:ext>
            </a:extLst>
          </p:cNvPr>
          <p:cNvSpPr>
            <a:spLocks noGrp="1"/>
          </p:cNvSpPr>
          <p:nvPr>
            <p:ph type="title" hasCustomPrompt="1"/>
          </p:nvPr>
        </p:nvSpPr>
        <p:spPr>
          <a:xfrm>
            <a:off x="304800" y="304800"/>
            <a:ext cx="4152900" cy="1181100"/>
          </a:xfrm>
        </p:spPr>
        <p:txBody>
          <a:bodyPr anchor="t"/>
          <a:lstStyle>
            <a:lvl1pPr>
              <a:defRPr sz="4000"/>
            </a:lvl1pPr>
          </a:lstStyle>
          <a:p>
            <a:r>
              <a:rPr lang="en-US" dirty="0"/>
              <a:t>Picture with caption layout</a:t>
            </a:r>
          </a:p>
        </p:txBody>
      </p:sp>
      <p:sp>
        <p:nvSpPr>
          <p:cNvPr id="3" name="Picture Placeholder 2">
            <a:extLst>
              <a:ext uri="{FF2B5EF4-FFF2-40B4-BE49-F238E27FC236}">
                <a16:creationId xmlns:a16="http://schemas.microsoft.com/office/drawing/2014/main" id="{C4FCFB70-4D2B-4A5F-B5F1-1904D4D48BFB}"/>
              </a:ext>
            </a:extLst>
          </p:cNvPr>
          <p:cNvSpPr>
            <a:spLocks noGrp="1"/>
          </p:cNvSpPr>
          <p:nvPr>
            <p:ph type="pic" idx="1" hasCustomPrompt="1"/>
          </p:nvPr>
        </p:nvSpPr>
        <p:spPr>
          <a:xfrm>
            <a:off x="5029200" y="304799"/>
            <a:ext cx="6858000" cy="5905501"/>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image</a:t>
            </a:r>
            <a:br>
              <a:rPr lang="en-US" dirty="0"/>
            </a:br>
            <a:br>
              <a:rPr lang="en-US" dirty="0"/>
            </a:br>
            <a:endParaRPr lang="en-US" dirty="0"/>
          </a:p>
        </p:txBody>
      </p:sp>
      <p:sp>
        <p:nvSpPr>
          <p:cNvPr id="4" name="Text Placeholder 3">
            <a:extLst>
              <a:ext uri="{FF2B5EF4-FFF2-40B4-BE49-F238E27FC236}">
                <a16:creationId xmlns:a16="http://schemas.microsoft.com/office/drawing/2014/main" id="{5334DB1E-5222-413E-A157-09D2D7B06BED}"/>
              </a:ext>
            </a:extLst>
          </p:cNvPr>
          <p:cNvSpPr>
            <a:spLocks noGrp="1"/>
          </p:cNvSpPr>
          <p:nvPr>
            <p:ph type="body" sz="half" idx="2" hasCustomPrompt="1"/>
          </p:nvPr>
        </p:nvSpPr>
        <p:spPr>
          <a:xfrm>
            <a:off x="304800" y="2181224"/>
            <a:ext cx="4152900" cy="40290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on</a:t>
            </a:r>
          </a:p>
        </p:txBody>
      </p:sp>
      <p:pic>
        <p:nvPicPr>
          <p:cNvPr id="6" name="Picture 5">
            <a:extLst>
              <a:ext uri="{FF2B5EF4-FFF2-40B4-BE49-F238E27FC236}">
                <a16:creationId xmlns:a16="http://schemas.microsoft.com/office/drawing/2014/main" id="{793D827A-089B-4E08-84DA-CE974B5C540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529383028"/>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BD4D8D4-CAB7-30A9-E0D1-FF90E1042C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34" name="Text Placeholder 11">
            <a:extLst>
              <a:ext uri="{FF2B5EF4-FFF2-40B4-BE49-F238E27FC236}">
                <a16:creationId xmlns:a16="http://schemas.microsoft.com/office/drawing/2014/main" id="{CC6394AE-9889-3497-D2CF-B3A13B83B639}"/>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dirty="0"/>
              <a:t>Speaker name (pronouns)</a:t>
            </a:r>
          </a:p>
        </p:txBody>
      </p:sp>
      <p:sp>
        <p:nvSpPr>
          <p:cNvPr id="35" name="Text Placeholder 15">
            <a:extLst>
              <a:ext uri="{FF2B5EF4-FFF2-40B4-BE49-F238E27FC236}">
                <a16:creationId xmlns:a16="http://schemas.microsoft.com/office/drawing/2014/main" id="{4558D9E7-4CE8-14F0-81B1-BC0FB89484F5}"/>
              </a:ext>
            </a:extLst>
          </p:cNvPr>
          <p:cNvSpPr>
            <a:spLocks noGrp="1"/>
          </p:cNvSpPr>
          <p:nvPr>
            <p:ph type="body" sz="quarter" idx="15" hasCustomPrompt="1"/>
          </p:nvPr>
        </p:nvSpPr>
        <p:spPr>
          <a:xfrm>
            <a:off x="426595" y="4946988"/>
            <a:ext cx="3702329" cy="535531"/>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Speaker job title</a:t>
            </a:r>
            <a:br>
              <a:rPr lang="en-US" dirty="0"/>
            </a:br>
            <a:r>
              <a:rPr lang="en-US" dirty="0"/>
              <a:t>Speaker company</a:t>
            </a:r>
          </a:p>
        </p:txBody>
      </p:sp>
      <p:sp>
        <p:nvSpPr>
          <p:cNvPr id="2" name="TextBox 1">
            <a:extLst>
              <a:ext uri="{FF2B5EF4-FFF2-40B4-BE49-F238E27FC236}">
                <a16:creationId xmlns:a16="http://schemas.microsoft.com/office/drawing/2014/main" id="{AABDFDB3-98F4-4A70-E1E9-6DC287A939E1}"/>
              </a:ext>
            </a:extLst>
          </p:cNvPr>
          <p:cNvSpPr txBox="1"/>
          <p:nvPr userDrawn="1"/>
        </p:nvSpPr>
        <p:spPr>
          <a:xfrm>
            <a:off x="330617" y="6392988"/>
            <a:ext cx="259878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mazon Ember Display"/>
                <a:ea typeface="+mn-ea"/>
                <a:cs typeface="+mn-cs"/>
              </a:rPr>
              <a:t>© 2026, Amazon Web Services, Inc. or its affiliates. All rights reserved</a:t>
            </a:r>
          </a:p>
        </p:txBody>
      </p:sp>
      <p:sp>
        <p:nvSpPr>
          <p:cNvPr id="13" name="Subtitle 2">
            <a:extLst>
              <a:ext uri="{FF2B5EF4-FFF2-40B4-BE49-F238E27FC236}">
                <a16:creationId xmlns:a16="http://schemas.microsoft.com/office/drawing/2014/main" id="{BA24688F-E4D3-455D-9B0B-AA55FFBE5DE2}"/>
              </a:ext>
            </a:extLst>
          </p:cNvPr>
          <p:cNvSpPr>
            <a:spLocks noGrp="1"/>
          </p:cNvSpPr>
          <p:nvPr>
            <p:ph type="subTitle" idx="1" hasCustomPrompt="1"/>
          </p:nvPr>
        </p:nvSpPr>
        <p:spPr>
          <a:xfrm>
            <a:off x="426595" y="3533486"/>
            <a:ext cx="6660005" cy="978729"/>
          </a:xfrm>
        </p:spPr>
        <p:txBody>
          <a:bodyPr wrap="square"/>
          <a:lstStyle>
            <a:lvl1pPr marL="0" indent="0" algn="l" defTabSz="914400" rtl="0" eaLnBrk="1" latinLnBrk="0" hangingPunct="1">
              <a:lnSpc>
                <a:spcPct val="90000"/>
              </a:lnSpc>
              <a:spcBef>
                <a:spcPts val="0"/>
              </a:spcBef>
              <a:spcAft>
                <a:spcPts val="0"/>
              </a:spcAft>
              <a:buClr>
                <a:schemeClr val="tx1"/>
              </a:buClr>
              <a:buSzPct val="90000"/>
              <a:buFont typeface="Arial" panose="020B0604020202020204" pitchFamily="34" charset="0"/>
              <a:buNone/>
              <a:tabLst/>
              <a:defRPr lang="en-US" sz="3200" b="0" i="0" kern="1200" cap="none" spc="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ustomer outcome/approved PDP tagline</a:t>
            </a:r>
          </a:p>
        </p:txBody>
      </p:sp>
      <p:sp>
        <p:nvSpPr>
          <p:cNvPr id="17" name="Title 1">
            <a:extLst>
              <a:ext uri="{FF2B5EF4-FFF2-40B4-BE49-F238E27FC236}">
                <a16:creationId xmlns:a16="http://schemas.microsoft.com/office/drawing/2014/main" id="{79961D1F-6D82-4C7B-979E-00AB8FB74D9A}"/>
              </a:ext>
            </a:extLst>
          </p:cNvPr>
          <p:cNvSpPr>
            <a:spLocks noGrp="1"/>
          </p:cNvSpPr>
          <p:nvPr>
            <p:ph type="ctrTitle" hasCustomPrompt="1"/>
          </p:nvPr>
        </p:nvSpPr>
        <p:spPr>
          <a:xfrm>
            <a:off x="426596" y="2746988"/>
            <a:ext cx="6660004" cy="757130"/>
          </a:xfrm>
        </p:spPr>
        <p:txBody>
          <a:bodyPr wrap="square" anchor="t" anchorCtr="0"/>
          <a:lstStyle>
            <a:lvl1pPr algn="l">
              <a:defRPr sz="4800">
                <a:solidFill>
                  <a:schemeClr val="bg1"/>
                </a:solidFill>
                <a:latin typeface="+mj-lt"/>
              </a:defRPr>
            </a:lvl1pPr>
          </a:lstStyle>
          <a:p>
            <a:r>
              <a:rPr lang="en-US" dirty="0"/>
              <a:t>First-use service name</a:t>
            </a:r>
          </a:p>
        </p:txBody>
      </p:sp>
    </p:spTree>
    <p:extLst>
      <p:ext uri="{BB962C8B-B14F-4D97-AF65-F5344CB8AC3E}">
        <p14:creationId xmlns:p14="http://schemas.microsoft.com/office/powerpoint/2010/main" val="2703034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B277E4-9A69-4767-9CF4-47951F185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176C295-EE16-47C5-A918-84875C58174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57847" cy="6858000"/>
          </a:xfrm>
          <a:prstGeom prst="rect">
            <a:avLst/>
          </a:prstGeom>
        </p:spPr>
      </p:pic>
      <p:sp>
        <p:nvSpPr>
          <p:cNvPr id="6" name="TextBox 5">
            <a:extLst>
              <a:ext uri="{FF2B5EF4-FFF2-40B4-BE49-F238E27FC236}">
                <a16:creationId xmlns:a16="http://schemas.microsoft.com/office/drawing/2014/main" id="{EA4B92D1-BD95-4ACC-9E97-FE9B372B651C}"/>
              </a:ext>
            </a:extLst>
          </p:cNvPr>
          <p:cNvSpPr txBox="1"/>
          <p:nvPr userDrawn="1"/>
        </p:nvSpPr>
        <p:spPr bwMode="white">
          <a:xfrm>
            <a:off x="133351" y="1713913"/>
            <a:ext cx="8413750" cy="1128486"/>
          </a:xfrm>
          <a:prstGeom prst="rect">
            <a:avLst/>
          </a:prstGeom>
          <a:noFill/>
        </p:spPr>
        <p:txBody>
          <a:bodyPr lIns="182880" tIns="91440" rIns="146304" bIns="9144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pPr eaLnBrk="1" fontAlgn="auto" hangingPunct="1">
              <a:spcAft>
                <a:spcPts val="0"/>
              </a:spcAft>
              <a:defRPr/>
            </a:pPr>
            <a:r>
              <a:rPr sz="7200" b="1" i="0" spc="-300" dirty="0">
                <a:solidFill>
                  <a:schemeClr val="tx1"/>
                </a:solidFill>
                <a:latin typeface="+mn-lt"/>
                <a:ea typeface="Amazon Ember Display" panose="020F0603020204020204" pitchFamily="34" charset="0"/>
                <a:cs typeface="Amazon Ember Display" panose="020F0603020204020204" pitchFamily="34" charset="0"/>
              </a:rPr>
              <a:t>Thank you!</a:t>
            </a:r>
          </a:p>
        </p:txBody>
      </p:sp>
      <p:sp>
        <p:nvSpPr>
          <p:cNvPr id="9" name="TextBox 3">
            <a:extLst>
              <a:ext uri="{FF2B5EF4-FFF2-40B4-BE49-F238E27FC236}">
                <a16:creationId xmlns:a16="http://schemas.microsoft.com/office/drawing/2014/main" id="{408A370D-82D9-46EE-9BFE-A0195797ED6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p:spPr>
        <p:txBody>
          <a:bodyPr anchor="b"/>
          <a:lstStyle>
            <a:lvl1pPr marL="0" indent="0">
              <a:buNone/>
              <a:defRPr sz="2000" b="1"/>
            </a:lvl1pPr>
          </a:lstStyle>
          <a:p>
            <a:pPr lvl="0"/>
            <a:r>
              <a:rPr lang="en-US" dirty="0"/>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p:spPr>
        <p:txBody>
          <a:bodyPr anchor="b"/>
          <a:lstStyle>
            <a:lvl1pPr marL="0" indent="0">
              <a:buNone/>
              <a:defRPr sz="2000" b="1"/>
            </a:lvl1pPr>
          </a:lstStyle>
          <a:p>
            <a:pPr lvl="0"/>
            <a:r>
              <a:rPr lang="en-US" dirty="0"/>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p:spPr>
        <p:txBody>
          <a:bodyPr anchor="b"/>
          <a:lstStyle>
            <a:lvl1pPr marL="0" indent="0">
              <a:buNone/>
              <a:defRPr sz="2000" b="1"/>
            </a:lvl1pPr>
          </a:lstStyle>
          <a:p>
            <a:pPr lvl="0"/>
            <a:r>
              <a:rPr lang="en-US" dirty="0"/>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p:spPr>
        <p:txBody>
          <a:bodyPr/>
          <a:lstStyle>
            <a:lvl1pPr>
              <a:defRPr>
                <a:solidFill>
                  <a:schemeClr val="bg1">
                    <a:lumMod val="65000"/>
                    <a:lumOff val="35000"/>
                  </a:schemeClr>
                </a:solidFill>
              </a:defRPr>
            </a:lvl1pPr>
          </a:lstStyle>
          <a:p>
            <a:r>
              <a:rPr lang="en-US" dirty="0"/>
              <a:t>Thank you layout</a:t>
            </a:r>
          </a:p>
        </p:txBody>
      </p:sp>
      <p:grpSp>
        <p:nvGrpSpPr>
          <p:cNvPr id="24" name="Group 23">
            <a:extLst>
              <a:ext uri="{FF2B5EF4-FFF2-40B4-BE49-F238E27FC236}">
                <a16:creationId xmlns:a16="http://schemas.microsoft.com/office/drawing/2014/main" id="{84C7E06E-CA3B-4922-B6C2-10A3255541E3}"/>
              </a:ext>
            </a:extLst>
          </p:cNvPr>
          <p:cNvGrpSpPr/>
          <p:nvPr userDrawn="1"/>
        </p:nvGrpSpPr>
        <p:grpSpPr>
          <a:xfrm>
            <a:off x="7232650" y="1758488"/>
            <a:ext cx="4961114" cy="1039336"/>
            <a:chOff x="7232650" y="1769509"/>
            <a:chExt cx="4961114" cy="1039336"/>
          </a:xfrm>
        </p:grpSpPr>
        <p:sp>
          <p:nvSpPr>
            <p:cNvPr id="25" name="Oval 24">
              <a:extLst>
                <a:ext uri="{FF2B5EF4-FFF2-40B4-BE49-F238E27FC236}">
                  <a16:creationId xmlns:a16="http://schemas.microsoft.com/office/drawing/2014/main" id="{F4869B64-841D-4E69-A2A8-9AF625BE3A9B}"/>
                </a:ext>
              </a:extLst>
            </p:cNvPr>
            <p:cNvSpPr/>
            <p:nvPr userDrawn="1"/>
          </p:nvSpPr>
          <p:spPr bwMode="auto">
            <a:xfrm>
              <a:off x="7232650" y="1872748"/>
              <a:ext cx="832859" cy="832859"/>
            </a:xfrm>
            <a:prstGeom prst="ellipse">
              <a:avLst/>
            </a:prstGeom>
            <a:solidFill>
              <a:srgbClr val="20115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91440" rIns="0" bIns="0" anchor="ctr"/>
            <a:lstStyle/>
            <a:p>
              <a:pPr algn="ctr" defTabSz="932472" eaLnBrk="1" hangingPunct="1">
                <a:lnSpc>
                  <a:spcPct val="90000"/>
                </a:lnSpc>
                <a:defRPr/>
              </a:pPr>
              <a:endParaRPr lang="en-US" sz="5400" b="1" dirty="0">
                <a:solidFill>
                  <a:schemeClr val="tx1"/>
                </a:solidFill>
                <a:ea typeface="Amazon Ember Display" panose="020F0603020204020204" pitchFamily="34" charset="0"/>
                <a:cs typeface="Amazon Ember Display" panose="020F0603020204020204" pitchFamily="34" charset="0"/>
              </a:endParaRPr>
            </a:p>
          </p:txBody>
        </p:sp>
        <p:sp>
          <p:nvSpPr>
            <p:cNvPr id="26" name="Rectangle 25">
              <a:extLst>
                <a:ext uri="{FF2B5EF4-FFF2-40B4-BE49-F238E27FC236}">
                  <a16:creationId xmlns:a16="http://schemas.microsoft.com/office/drawing/2014/main" id="{8B6ADC72-224D-4A5A-870A-AEE582EDC5AA}"/>
                </a:ext>
              </a:extLst>
            </p:cNvPr>
            <p:cNvSpPr/>
            <p:nvPr userDrawn="1"/>
          </p:nvSpPr>
          <p:spPr>
            <a:xfrm>
              <a:off x="7637646" y="1872748"/>
              <a:ext cx="4556118" cy="832859"/>
            </a:xfrm>
            <a:prstGeom prst="rect">
              <a:avLst/>
            </a:prstGeom>
            <a:gradFill flip="none" rotWithShape="1">
              <a:gsLst>
                <a:gs pos="57000">
                  <a:schemeClr val="bg2">
                    <a:lumMod val="75000"/>
                    <a:lumOff val="25000"/>
                  </a:schemeClr>
                </a:gs>
                <a:gs pos="95000">
                  <a:srgbClr val="400656"/>
                </a:gs>
                <a:gs pos="16000">
                  <a:srgbClr val="20115F"/>
                </a:gs>
              </a:gsLst>
              <a:lin ang="144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800" rIns="182880" rtlCol="0" anchor="ctr"/>
            <a:lstStyle/>
            <a:p>
              <a:pPr lvl="0">
                <a:lnSpc>
                  <a:spcPct val="80000"/>
                </a:lnSpc>
              </a:pPr>
              <a:endParaRPr lang="en-US" sz="1600" dirty="0">
                <a:solidFill>
                  <a:schemeClr val="bg1"/>
                </a:solidFill>
                <a:cs typeface="Amazon Ember Display" panose="020F0603020204020204" pitchFamily="34" charset="0"/>
              </a:endParaRPr>
            </a:p>
          </p:txBody>
        </p:sp>
        <p:sp>
          <p:nvSpPr>
            <p:cNvPr id="27" name="TextBox 26">
              <a:extLst>
                <a:ext uri="{FF2B5EF4-FFF2-40B4-BE49-F238E27FC236}">
                  <a16:creationId xmlns:a16="http://schemas.microsoft.com/office/drawing/2014/main" id="{FF86D94E-33EB-4D5B-9BA2-E558D513AC36}"/>
                </a:ext>
              </a:extLst>
            </p:cNvPr>
            <p:cNvSpPr txBox="1"/>
            <p:nvPr userDrawn="1"/>
          </p:nvSpPr>
          <p:spPr>
            <a:xfrm>
              <a:off x="8594726" y="1900795"/>
              <a:ext cx="3394181" cy="794064"/>
            </a:xfrm>
            <a:prstGeom prst="rect">
              <a:avLst/>
            </a:prstGeom>
            <a:noFill/>
          </p:spPr>
          <p:txBody>
            <a:bodyPr wrap="square" lIns="182880" tIns="146304" rIns="182880" bIns="146304" rtlCol="0">
              <a:spAutoFit/>
            </a:bodyPr>
            <a:lstStyle/>
            <a:p>
              <a:pPr algn="l">
                <a:lnSpc>
                  <a:spcPct val="90000"/>
                </a:lnSpc>
                <a:spcAft>
                  <a:spcPts val="1800"/>
                </a:spcAft>
              </a:pP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Please complete the session survey in the </a:t>
              </a:r>
              <a:r>
                <a:rPr lang="en-US" sz="1800" b="0" u="none"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mobile app</a:t>
              </a:r>
            </a:p>
          </p:txBody>
        </p:sp>
        <p:pic>
          <p:nvPicPr>
            <p:cNvPr id="28" name="Graphic 27">
              <a:extLst>
                <a:ext uri="{FF2B5EF4-FFF2-40B4-BE49-F238E27FC236}">
                  <a16:creationId xmlns:a16="http://schemas.microsoft.com/office/drawing/2014/main" id="{E0DF1074-5183-456A-A65A-F40ABF9419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11809" y="1769509"/>
              <a:ext cx="1039336" cy="1039336"/>
            </a:xfrm>
            <a:prstGeom prst="rect">
              <a:avLst/>
            </a:prstGeom>
          </p:spPr>
        </p:pic>
      </p:grpSp>
      <p:pic>
        <p:nvPicPr>
          <p:cNvPr id="18" name="Picture 17">
            <a:extLst>
              <a:ext uri="{FF2B5EF4-FFF2-40B4-BE49-F238E27FC236}">
                <a16:creationId xmlns:a16="http://schemas.microsoft.com/office/drawing/2014/main" id="{DBD2A98C-F1FC-4E4F-9A9B-56DDFDF98232}"/>
              </a:ext>
            </a:extLst>
          </p:cNvPr>
          <p:cNvPicPr>
            <a:picLocks noChangeAspect="1"/>
          </p:cNvPicPr>
          <p:nvPr userDrawn="1"/>
        </p:nvPicPr>
        <p:blipFill>
          <a:blip r:embed="rId6"/>
          <a:srcRect/>
          <a:stretch/>
        </p:blipFill>
        <p:spPr>
          <a:xfrm>
            <a:off x="292501" y="6428661"/>
            <a:ext cx="388818" cy="219592"/>
          </a:xfrm>
          <a:prstGeom prst="rect">
            <a:avLst/>
          </a:prstGeom>
        </p:spPr>
      </p:pic>
    </p:spTree>
    <p:extLst>
      <p:ext uri="{BB962C8B-B14F-4D97-AF65-F5344CB8AC3E}">
        <p14:creationId xmlns:p14="http://schemas.microsoft.com/office/powerpoint/2010/main" val="3751155009"/>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75D63-DB02-47E2-8ABC-1CDE7351B5CE}"/>
              </a:ext>
            </a:extLst>
          </p:cNvPr>
          <p:cNvSpPr>
            <a:spLocks noGrp="1"/>
          </p:cNvSpPr>
          <p:nvPr>
            <p:ph type="title" hasCustomPrompt="1"/>
          </p:nvPr>
        </p:nvSpPr>
        <p:spPr/>
        <p:txBody>
          <a:bodyPr/>
          <a:lstStyle>
            <a:lvl1pPr>
              <a:defRPr/>
            </a:lvl1pPr>
          </a:lstStyle>
          <a:p>
            <a:r>
              <a:rPr lang="en-US" dirty="0"/>
              <a:t>Title vertical text layout (for global use)</a:t>
            </a:r>
          </a:p>
        </p:txBody>
      </p:sp>
      <p:sp>
        <p:nvSpPr>
          <p:cNvPr id="3" name="Vertical Text Placeholder 2">
            <a:extLst>
              <a:ext uri="{FF2B5EF4-FFF2-40B4-BE49-F238E27FC236}">
                <a16:creationId xmlns:a16="http://schemas.microsoft.com/office/drawing/2014/main" id="{3798635E-72DE-4F61-BE10-3EAC7D7834F6}"/>
              </a:ext>
            </a:extLst>
          </p:cNvPr>
          <p:cNvSpPr>
            <a:spLocks noGrp="1"/>
          </p:cNvSpPr>
          <p:nvPr>
            <p:ph type="body" orient="vert" idx="1" hasCustomPrompt="1"/>
          </p:nvPr>
        </p:nvSpPr>
        <p:spPr>
          <a:xfrm>
            <a:off x="304800" y="1485900"/>
            <a:ext cx="11582401" cy="4724400"/>
          </a:xfrm>
        </p:spPr>
        <p:txBody>
          <a:bodyPr vert="eaVert">
            <a:noAutofit/>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942B27F6-70E9-4C1D-B876-3F56E6F0B8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0864584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5A6E2F-2A0D-41FD-98C9-E5EC67311CD7}"/>
              </a:ext>
            </a:extLst>
          </p:cNvPr>
          <p:cNvSpPr>
            <a:spLocks noGrp="1"/>
          </p:cNvSpPr>
          <p:nvPr>
            <p:ph type="title" orient="vert" hasCustomPrompt="1"/>
          </p:nvPr>
        </p:nvSpPr>
        <p:spPr>
          <a:xfrm>
            <a:off x="9258300" y="304800"/>
            <a:ext cx="2628900" cy="5811838"/>
          </a:xfrm>
        </p:spPr>
        <p:txBody>
          <a:bodyPr vert="eaVert"/>
          <a:lstStyle>
            <a:lvl1pPr>
              <a:defRPr/>
            </a:lvl1pPr>
          </a:lstStyle>
          <a:p>
            <a:r>
              <a:rPr lang="en-US" dirty="0"/>
              <a:t>Vertical title and text layout (for global use)</a:t>
            </a:r>
          </a:p>
        </p:txBody>
      </p:sp>
      <p:sp>
        <p:nvSpPr>
          <p:cNvPr id="3" name="Vertical Text Placeholder 2">
            <a:extLst>
              <a:ext uri="{FF2B5EF4-FFF2-40B4-BE49-F238E27FC236}">
                <a16:creationId xmlns:a16="http://schemas.microsoft.com/office/drawing/2014/main" id="{B304BEE4-73E5-478E-9908-4B1421AA9F89}"/>
              </a:ext>
            </a:extLst>
          </p:cNvPr>
          <p:cNvSpPr>
            <a:spLocks noGrp="1"/>
          </p:cNvSpPr>
          <p:nvPr>
            <p:ph type="body" orient="vert" idx="1" hasCustomPrompt="1"/>
          </p:nvPr>
        </p:nvSpPr>
        <p:spPr>
          <a:xfrm>
            <a:off x="304800" y="304800"/>
            <a:ext cx="8267700" cy="5905499"/>
          </a:xfrm>
        </p:spPr>
        <p:txBody>
          <a:bodyPr vert="eaVert">
            <a:noAutofit/>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A9FA31B9-D512-49AE-BE72-FB74192BB5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5021396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570948-50D6-4C6C-89FC-1CF33457240B}"/>
              </a:ext>
            </a:extLst>
          </p:cNvPr>
          <p:cNvSpPr txBox="1"/>
          <p:nvPr userDrawn="1"/>
        </p:nvSpPr>
        <p:spPr>
          <a:xfrm>
            <a:off x="3486150" y="2418081"/>
            <a:ext cx="7785100" cy="2021836"/>
          </a:xfrm>
          <a:prstGeom prst="rect">
            <a:avLst/>
          </a:prstGeom>
          <a:noFill/>
        </p:spPr>
        <p:txBody>
          <a:bodyPr wrap="square" rtlCol="0">
            <a:spAutoFit/>
          </a:bodyPr>
          <a:lstStyle/>
          <a:p>
            <a:pPr algn="l">
              <a:lnSpc>
                <a:spcPct val="80000"/>
              </a:lnSpc>
            </a:pPr>
            <a: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b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2400" b="1" i="0" dirty="0">
                <a:latin typeface="Amazon Ember Display" panose="020F0603020204020204" pitchFamily="34" charset="0"/>
                <a:ea typeface="Amazon Ember Display" panose="020F0603020204020204" pitchFamily="34" charset="0"/>
                <a:cs typeface="Amazon Ember Display" panose="020F0603020204020204" pitchFamily="34" charset="0"/>
              </a:rPr>
              <a:t>They are not part of the official template.</a:t>
            </a:r>
            <a:endPar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endParaRPr>
          </a:p>
        </p:txBody>
      </p:sp>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Tree>
    <p:extLst>
      <p:ext uri="{BB962C8B-B14F-4D97-AF65-F5344CB8AC3E}">
        <p14:creationId xmlns:p14="http://schemas.microsoft.com/office/powerpoint/2010/main" val="323150354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Side Design 1">
  <p:cSld name="Side Design 1">
    <p:spTree>
      <p:nvGrpSpPr>
        <p:cNvPr id="1" name="Shape 142"/>
        <p:cNvGrpSpPr/>
        <p:nvPr/>
      </p:nvGrpSpPr>
      <p:grpSpPr>
        <a:xfrm>
          <a:off x="0" y="0"/>
          <a:ext cx="0" cy="0"/>
          <a:chOff x="0" y="0"/>
          <a:chExt cx="0" cy="0"/>
        </a:xfrm>
      </p:grpSpPr>
      <p:pic>
        <p:nvPicPr>
          <p:cNvPr id="143" name="Google Shape;143;p31"/>
          <p:cNvPicPr preferRelativeResize="0"/>
          <p:nvPr/>
        </p:nvPicPr>
        <p:blipFill rotWithShape="1">
          <a:blip r:embed="rId2">
            <a:alphaModFix/>
          </a:blip>
          <a:srcRect l="-25637" t="42423" r="11692" b="44779"/>
          <a:stretch/>
        </p:blipFill>
        <p:spPr>
          <a:xfrm>
            <a:off x="0" y="5796768"/>
            <a:ext cx="12192000" cy="1061233"/>
          </a:xfrm>
          <a:prstGeom prst="rect">
            <a:avLst/>
          </a:prstGeom>
          <a:noFill/>
          <a:ln>
            <a:noFill/>
          </a:ln>
        </p:spPr>
      </p:pic>
      <p:sp>
        <p:nvSpPr>
          <p:cNvPr id="144" name="Google Shape;144;p31"/>
          <p:cNvSpPr txBox="1"/>
          <p:nvPr/>
        </p:nvSpPr>
        <p:spPr>
          <a:xfrm>
            <a:off x="487025" y="6192735"/>
            <a:ext cx="3322320" cy="194949"/>
          </a:xfrm>
          <a:prstGeom prst="rect">
            <a:avLst/>
          </a:prstGeom>
          <a:noFill/>
          <a:ln>
            <a:noFill/>
          </a:ln>
        </p:spPr>
        <p:txBody>
          <a:bodyPr spcFirstLastPara="1" wrap="square" lIns="91433" tIns="45700" rIns="91433" bIns="45700" anchor="t" anchorCtr="0">
            <a:spAutoFit/>
          </a:bodyPr>
          <a:lstStyle/>
          <a:p>
            <a:pPr marL="0" marR="0" lvl="0" indent="0" algn="l" rtl="0">
              <a:lnSpc>
                <a:spcPct val="100000"/>
              </a:lnSpc>
              <a:spcBef>
                <a:spcPts val="0"/>
              </a:spcBef>
              <a:spcAft>
                <a:spcPts val="0"/>
              </a:spcAft>
              <a:buClr>
                <a:schemeClr val="dk1"/>
              </a:buClr>
              <a:buSzPts val="500"/>
              <a:buFont typeface="Arial"/>
              <a:buNone/>
            </a:pPr>
            <a:r>
              <a:rPr lang="en" sz="667" b="0" i="0" u="none" strike="noStrike" cap="none">
                <a:solidFill>
                  <a:schemeClr val="dk1"/>
                </a:solidFill>
                <a:latin typeface="Arial"/>
                <a:ea typeface="Arial"/>
                <a:cs typeface="Arial"/>
                <a:sym typeface="Arial"/>
              </a:rPr>
              <a:t>© 2020 Bloomberg Finance L.P. All rights reserved.</a:t>
            </a:r>
            <a:endParaRPr sz="1467"/>
          </a:p>
        </p:txBody>
      </p:sp>
      <p:sp>
        <p:nvSpPr>
          <p:cNvPr id="145" name="Google Shape;145;p31"/>
          <p:cNvSpPr txBox="1">
            <a:spLocks noGrp="1"/>
          </p:cNvSpPr>
          <p:nvPr>
            <p:ph type="title"/>
          </p:nvPr>
        </p:nvSpPr>
        <p:spPr>
          <a:xfrm>
            <a:off x="545255" y="477708"/>
            <a:ext cx="9422676" cy="492211"/>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100"/>
              <a:buNone/>
              <a:defRPr sz="2800" b="1" i="0" u="none" strike="noStrike" cap="none">
                <a:solidFill>
                  <a:schemeClr val="dk1"/>
                </a:solidFill>
                <a:latin typeface="Arial"/>
                <a:ea typeface="Arial"/>
                <a:cs typeface="Arial"/>
                <a:sym typeface="Arial"/>
              </a:defRPr>
            </a:lvl1pPr>
            <a:lvl2pPr lvl="1">
              <a:spcBef>
                <a:spcPts val="0"/>
              </a:spcBef>
              <a:spcAft>
                <a:spcPts val="0"/>
              </a:spcAft>
              <a:buSzPts val="1100"/>
              <a:buNone/>
              <a:defRPr sz="1867"/>
            </a:lvl2pPr>
            <a:lvl3pPr lvl="2">
              <a:spcBef>
                <a:spcPts val="0"/>
              </a:spcBef>
              <a:spcAft>
                <a:spcPts val="0"/>
              </a:spcAft>
              <a:buSzPts val="1100"/>
              <a:buNone/>
              <a:defRPr sz="1867"/>
            </a:lvl3pPr>
            <a:lvl4pPr lvl="3">
              <a:spcBef>
                <a:spcPts val="0"/>
              </a:spcBef>
              <a:spcAft>
                <a:spcPts val="0"/>
              </a:spcAft>
              <a:buSzPts val="1100"/>
              <a:buNone/>
              <a:defRPr sz="1867"/>
            </a:lvl4pPr>
            <a:lvl5pPr lvl="4">
              <a:spcBef>
                <a:spcPts val="0"/>
              </a:spcBef>
              <a:spcAft>
                <a:spcPts val="0"/>
              </a:spcAft>
              <a:buSzPts val="1100"/>
              <a:buNone/>
              <a:defRPr sz="1867"/>
            </a:lvl5pPr>
            <a:lvl6pPr lvl="5">
              <a:spcBef>
                <a:spcPts val="0"/>
              </a:spcBef>
              <a:spcAft>
                <a:spcPts val="0"/>
              </a:spcAft>
              <a:buSzPts val="1100"/>
              <a:buNone/>
              <a:defRPr sz="1867"/>
            </a:lvl6pPr>
            <a:lvl7pPr lvl="6">
              <a:spcBef>
                <a:spcPts val="0"/>
              </a:spcBef>
              <a:spcAft>
                <a:spcPts val="0"/>
              </a:spcAft>
              <a:buSzPts val="1100"/>
              <a:buNone/>
              <a:defRPr sz="1867"/>
            </a:lvl7pPr>
            <a:lvl8pPr lvl="7">
              <a:spcBef>
                <a:spcPts val="0"/>
              </a:spcBef>
              <a:spcAft>
                <a:spcPts val="0"/>
              </a:spcAft>
              <a:buSzPts val="1100"/>
              <a:buNone/>
              <a:defRPr sz="1867"/>
            </a:lvl8pPr>
            <a:lvl9pPr lvl="8">
              <a:spcBef>
                <a:spcPts val="0"/>
              </a:spcBef>
              <a:spcAft>
                <a:spcPts val="0"/>
              </a:spcAft>
              <a:buSzPts val="1100"/>
              <a:buNone/>
              <a:defRPr sz="1867"/>
            </a:lvl9pPr>
          </a:lstStyle>
          <a:p>
            <a:endParaRPr/>
          </a:p>
        </p:txBody>
      </p:sp>
      <p:sp>
        <p:nvSpPr>
          <p:cNvPr id="146" name="Google Shape;146;p31"/>
          <p:cNvSpPr txBox="1">
            <a:spLocks noGrp="1"/>
          </p:cNvSpPr>
          <p:nvPr>
            <p:ph type="body" idx="1"/>
          </p:nvPr>
        </p:nvSpPr>
        <p:spPr>
          <a:xfrm>
            <a:off x="548620" y="1174293"/>
            <a:ext cx="9419313" cy="4251723"/>
          </a:xfrm>
          <a:prstGeom prst="rect">
            <a:avLst/>
          </a:prstGeom>
          <a:noFill/>
          <a:ln>
            <a:noFill/>
          </a:ln>
        </p:spPr>
        <p:txBody>
          <a:bodyPr spcFirstLastPara="1" wrap="square" lIns="68575" tIns="34275" rIns="68575" bIns="34275" anchor="t" anchorCtr="0">
            <a:noAutofit/>
          </a:bodyPr>
          <a:lstStyle>
            <a:lvl1pPr marL="609585" marR="0" lvl="0" indent="-465655" algn="l" rtl="0">
              <a:lnSpc>
                <a:spcPct val="100000"/>
              </a:lnSpc>
              <a:spcBef>
                <a:spcPts val="0"/>
              </a:spcBef>
              <a:spcAft>
                <a:spcPts val="0"/>
              </a:spcAft>
              <a:buClr>
                <a:schemeClr val="dk1"/>
              </a:buClr>
              <a:buSzPts val="1900"/>
              <a:buFont typeface="Arial"/>
              <a:buChar char="•"/>
              <a:defRPr sz="2533" b="0" i="0" u="none" strike="noStrike" cap="none">
                <a:solidFill>
                  <a:schemeClr val="dk1"/>
                </a:solidFill>
                <a:latin typeface="Arial"/>
                <a:ea typeface="Arial"/>
                <a:cs typeface="Arial"/>
                <a:sym typeface="Arial"/>
              </a:defRPr>
            </a:lvl1pPr>
            <a:lvl2pPr marL="1219170" marR="0" lvl="1" indent="-372524" algn="l" rtl="0">
              <a:lnSpc>
                <a:spcPct val="100000"/>
              </a:lnSpc>
              <a:spcBef>
                <a:spcPts val="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2pPr>
            <a:lvl3pPr marL="1828754" marR="0" lvl="2" indent="-372524" algn="l" rtl="0">
              <a:spcBef>
                <a:spcPts val="0"/>
              </a:spcBef>
              <a:spcAft>
                <a:spcPts val="0"/>
              </a:spcAft>
              <a:buClr>
                <a:schemeClr val="dk1"/>
              </a:buClr>
              <a:buSzPts val="800"/>
              <a:buFont typeface="Arial"/>
              <a:buChar char="•"/>
              <a:defRPr sz="1600" b="0" i="0" u="none" strike="noStrike" cap="none">
                <a:solidFill>
                  <a:schemeClr val="dk1"/>
                </a:solidFill>
                <a:latin typeface="Arial"/>
                <a:ea typeface="Arial"/>
                <a:cs typeface="Arial"/>
                <a:sym typeface="Arial"/>
              </a:defRPr>
            </a:lvl3pPr>
            <a:lvl4pPr marL="2438339" marR="0" lvl="3" indent="-304792" algn="l" rtl="0">
              <a:spcBef>
                <a:spcPts val="0"/>
              </a:spcBef>
              <a:spcAft>
                <a:spcPts val="0"/>
              </a:spcAft>
              <a:buSzPts val="1100"/>
              <a:buNone/>
              <a:defRPr sz="1067" b="0" i="0" u="none" strike="noStrike" cap="none">
                <a:latin typeface="Arial"/>
                <a:ea typeface="Arial"/>
                <a:cs typeface="Arial"/>
                <a:sym typeface="Arial"/>
              </a:defRPr>
            </a:lvl4pPr>
            <a:lvl5pPr marL="3047924" marR="0" lvl="4" indent="-304792" algn="l" rtl="0">
              <a:spcBef>
                <a:spcPts val="0"/>
              </a:spcBef>
              <a:spcAft>
                <a:spcPts val="0"/>
              </a:spcAft>
              <a:buSzPts val="1100"/>
              <a:buNone/>
              <a:defRPr sz="1067" b="0" i="0" u="none" strike="noStrike" cap="none">
                <a:latin typeface="Arial"/>
                <a:ea typeface="Arial"/>
                <a:cs typeface="Arial"/>
                <a:sym typeface="Arial"/>
              </a:defRPr>
            </a:lvl5pPr>
            <a:lvl6pPr marL="3657509" marR="0" lvl="5" indent="-304792" algn="l" rtl="0">
              <a:spcBef>
                <a:spcPts val="0"/>
              </a:spcBef>
              <a:spcAft>
                <a:spcPts val="0"/>
              </a:spcAft>
              <a:buSzPts val="1100"/>
              <a:buNone/>
              <a:defRPr sz="1867" b="0" i="0" u="none" strike="noStrike" cap="none">
                <a:latin typeface="Arial"/>
                <a:ea typeface="Arial"/>
                <a:cs typeface="Arial"/>
                <a:sym typeface="Arial"/>
              </a:defRPr>
            </a:lvl6pPr>
            <a:lvl7pPr marL="4267093" marR="0" lvl="6" indent="-304792" algn="l" rtl="0">
              <a:spcBef>
                <a:spcPts val="0"/>
              </a:spcBef>
              <a:spcAft>
                <a:spcPts val="0"/>
              </a:spcAft>
              <a:buSzPts val="1100"/>
              <a:buNone/>
              <a:defRPr sz="1867" b="0" i="0" u="none" strike="noStrike" cap="none">
                <a:latin typeface="Arial"/>
                <a:ea typeface="Arial"/>
                <a:cs typeface="Arial"/>
                <a:sym typeface="Arial"/>
              </a:defRPr>
            </a:lvl7pPr>
            <a:lvl8pPr marL="4876678" marR="0" lvl="7" indent="-304792" algn="l" rtl="0">
              <a:spcBef>
                <a:spcPts val="0"/>
              </a:spcBef>
              <a:spcAft>
                <a:spcPts val="0"/>
              </a:spcAft>
              <a:buSzPts val="1100"/>
              <a:buNone/>
              <a:defRPr sz="1867" b="0" i="0" u="none" strike="noStrike" cap="none">
                <a:latin typeface="Arial"/>
                <a:ea typeface="Arial"/>
                <a:cs typeface="Arial"/>
                <a:sym typeface="Arial"/>
              </a:defRPr>
            </a:lvl8pPr>
            <a:lvl9pPr marL="5486263" marR="0" lvl="8" indent="-304792" algn="l" rtl="0">
              <a:spcBef>
                <a:spcPts val="0"/>
              </a:spcBef>
              <a:spcAft>
                <a:spcPts val="0"/>
              </a:spcAft>
              <a:buSzPts val="1100"/>
              <a:buNone/>
              <a:defRPr sz="1867" b="0" i="0" u="none" strike="noStrike" cap="none">
                <a:latin typeface="Arial"/>
                <a:ea typeface="Arial"/>
                <a:cs typeface="Arial"/>
                <a:sym typeface="Arial"/>
              </a:defRPr>
            </a:lvl9pPr>
          </a:lstStyle>
          <a:p>
            <a:endParaRPr/>
          </a:p>
        </p:txBody>
      </p:sp>
    </p:spTree>
    <p:extLst>
      <p:ext uri="{BB962C8B-B14F-4D97-AF65-F5344CB8AC3E}">
        <p14:creationId xmlns:p14="http://schemas.microsoft.com/office/powerpoint/2010/main" val="10467632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only">
  <p:cSld name="TItle-only">
    <p:spTree>
      <p:nvGrpSpPr>
        <p:cNvPr id="1" name="Shape 170"/>
        <p:cNvGrpSpPr/>
        <p:nvPr/>
      </p:nvGrpSpPr>
      <p:grpSpPr>
        <a:xfrm>
          <a:off x="0" y="0"/>
          <a:ext cx="0" cy="0"/>
          <a:chOff x="0" y="0"/>
          <a:chExt cx="0" cy="0"/>
        </a:xfrm>
      </p:grpSpPr>
      <p:sp>
        <p:nvSpPr>
          <p:cNvPr id="171" name="Google Shape;171;p30"/>
          <p:cNvSpPr txBox="1">
            <a:spLocks noGrp="1"/>
          </p:cNvSpPr>
          <p:nvPr>
            <p:ph type="body" idx="1"/>
          </p:nvPr>
        </p:nvSpPr>
        <p:spPr>
          <a:xfrm>
            <a:off x="381000" y="381000"/>
            <a:ext cx="10858400" cy="1524000"/>
          </a:xfrm>
          <a:prstGeom prst="rect">
            <a:avLst/>
          </a:prstGeom>
          <a:noFill/>
          <a:ln>
            <a:noFill/>
          </a:ln>
        </p:spPr>
        <p:txBody>
          <a:bodyPr spcFirstLastPara="1" wrap="square" lIns="0" tIns="0" rIns="0" bIns="0" anchor="t" anchorCtr="0">
            <a:noAutofit/>
          </a:bodyPr>
          <a:lstStyle>
            <a:lvl1pPr marL="457200" marR="0" lvl="0" indent="-228600" algn="l">
              <a:lnSpc>
                <a:spcPct val="110000"/>
              </a:lnSpc>
              <a:spcBef>
                <a:spcPts val="0"/>
              </a:spcBef>
              <a:spcAft>
                <a:spcPts val="0"/>
              </a:spcAft>
              <a:buSzPts val="1100"/>
              <a:buNone/>
              <a:defRPr sz="2667" b="1" i="0" u="none" strike="noStrike" cap="none">
                <a:solidFill>
                  <a:schemeClr val="dk1"/>
                </a:solidFill>
                <a:latin typeface="Avenir"/>
                <a:ea typeface="Avenir"/>
                <a:cs typeface="Avenir"/>
                <a:sym typeface="Avenir"/>
              </a:defRPr>
            </a:lvl1pPr>
            <a:lvl2pPr marL="914400" marR="0" lvl="1" indent="-228600" algn="l">
              <a:lnSpc>
                <a:spcPct val="110000"/>
              </a:lnSpc>
              <a:spcBef>
                <a:spcPts val="533"/>
              </a:spcBef>
              <a:spcAft>
                <a:spcPts val="0"/>
              </a:spcAft>
              <a:buSzPts val="1100"/>
              <a:buNone/>
              <a:defRPr sz="1867" b="0" i="0" u="none" strike="noStrike" cap="none">
                <a:solidFill>
                  <a:schemeClr val="accent1"/>
                </a:solidFill>
                <a:latin typeface="Avenir"/>
                <a:ea typeface="Avenir"/>
                <a:cs typeface="Avenir"/>
                <a:sym typeface="Avenir"/>
              </a:defRPr>
            </a:lvl2pPr>
            <a:lvl3pPr marL="1371600" marR="0" lvl="2" indent="-228600" algn="l">
              <a:lnSpc>
                <a:spcPct val="120000"/>
              </a:lnSpc>
              <a:spcBef>
                <a:spcPts val="2000"/>
              </a:spcBef>
              <a:spcAft>
                <a:spcPts val="0"/>
              </a:spcAft>
              <a:buSzPts val="1100"/>
              <a:buNone/>
              <a:defRPr sz="1333" b="1" i="0" u="none" strike="noStrike" cap="none">
                <a:solidFill>
                  <a:schemeClr val="lt1"/>
                </a:solidFill>
                <a:latin typeface="Avenir"/>
                <a:ea typeface="Avenir"/>
                <a:cs typeface="Avenir"/>
                <a:sym typeface="Avenir"/>
              </a:defRPr>
            </a:lvl3pPr>
            <a:lvl4pPr marL="1828800" marR="0" lvl="3" indent="-228600" algn="l">
              <a:lnSpc>
                <a:spcPct val="120000"/>
              </a:lnSpc>
              <a:spcBef>
                <a:spcPts val="533"/>
              </a:spcBef>
              <a:spcAft>
                <a:spcPts val="0"/>
              </a:spcAft>
              <a:buSzPts val="1100"/>
              <a:buNone/>
              <a:defRPr sz="1333" b="0" i="0" u="none" strike="noStrike" cap="none">
                <a:solidFill>
                  <a:schemeClr val="lt1"/>
                </a:solidFill>
                <a:latin typeface="Avenir"/>
                <a:ea typeface="Avenir"/>
                <a:cs typeface="Avenir"/>
                <a:sym typeface="Avenir"/>
              </a:defRPr>
            </a:lvl4pPr>
            <a:lvl5pPr marL="2286000" marR="0" lvl="4" indent="-292100" algn="l">
              <a:lnSpc>
                <a:spcPct val="120000"/>
              </a:lnSpc>
              <a:spcBef>
                <a:spcPts val="533"/>
              </a:spcBef>
              <a:spcAft>
                <a:spcPts val="0"/>
              </a:spcAft>
              <a:buClr>
                <a:schemeClr val="lt1"/>
              </a:buClr>
              <a:buSzPts val="1000"/>
              <a:buFont typeface="Arial"/>
              <a:buChar char="•"/>
              <a:defRPr sz="1333" b="0" i="0" u="none" strike="noStrike" cap="none">
                <a:solidFill>
                  <a:schemeClr val="lt1"/>
                </a:solidFill>
                <a:latin typeface="Avenir"/>
                <a:ea typeface="Avenir"/>
                <a:cs typeface="Avenir"/>
                <a:sym typeface="Avenir"/>
              </a:defRPr>
            </a:lvl5pPr>
            <a:lvl6pPr marL="2743200" marR="0" lvl="5" indent="-228600" algn="l">
              <a:lnSpc>
                <a:spcPct val="100000"/>
              </a:lnSpc>
              <a:spcBef>
                <a:spcPts val="267"/>
              </a:spcBef>
              <a:spcAft>
                <a:spcPts val="0"/>
              </a:spcAft>
              <a:buSzPts val="1100"/>
              <a:buNone/>
              <a:defRPr sz="1867" b="0" i="0" u="none" strike="noStrike" cap="none">
                <a:latin typeface="Avenir"/>
                <a:ea typeface="Avenir"/>
                <a:cs typeface="Avenir"/>
                <a:sym typeface="Avenir"/>
              </a:defRPr>
            </a:lvl6pPr>
            <a:lvl7pPr marL="3200400" marR="0" lvl="6" indent="-228600" algn="l">
              <a:lnSpc>
                <a:spcPct val="100000"/>
              </a:lnSpc>
              <a:spcBef>
                <a:spcPts val="0"/>
              </a:spcBef>
              <a:spcAft>
                <a:spcPts val="0"/>
              </a:spcAft>
              <a:buSzPts val="1100"/>
              <a:buNone/>
              <a:defRPr sz="1867" b="0" i="0" u="none" strike="noStrike" cap="none">
                <a:latin typeface="Avenir"/>
                <a:ea typeface="Avenir"/>
                <a:cs typeface="Avenir"/>
                <a:sym typeface="Avenir"/>
              </a:defRPr>
            </a:lvl7pPr>
            <a:lvl8pPr marL="3657600" marR="0" lvl="7" indent="-228600" algn="l">
              <a:lnSpc>
                <a:spcPct val="100000"/>
              </a:lnSpc>
              <a:spcBef>
                <a:spcPts val="0"/>
              </a:spcBef>
              <a:spcAft>
                <a:spcPts val="0"/>
              </a:spcAft>
              <a:buSzPts val="1100"/>
              <a:buNone/>
              <a:defRPr sz="1867" b="0" i="0" u="none" strike="noStrike" cap="none">
                <a:latin typeface="Avenir"/>
                <a:ea typeface="Avenir"/>
                <a:cs typeface="Avenir"/>
                <a:sym typeface="Avenir"/>
              </a:defRPr>
            </a:lvl8pPr>
            <a:lvl9pPr marL="4114800" marR="0" lvl="8" indent="-228600" algn="l">
              <a:lnSpc>
                <a:spcPct val="100000"/>
              </a:lnSpc>
              <a:spcBef>
                <a:spcPts val="0"/>
              </a:spcBef>
              <a:spcAft>
                <a:spcPts val="0"/>
              </a:spcAft>
              <a:buSzPts val="1100"/>
              <a:buNone/>
              <a:defRPr sz="1867" b="0" i="0" u="none" strike="noStrike" cap="none">
                <a:latin typeface="Avenir"/>
                <a:ea typeface="Avenir"/>
                <a:cs typeface="Avenir"/>
                <a:sym typeface="Avenir"/>
              </a:defRPr>
            </a:lvl9pPr>
          </a:lstStyle>
          <a:p>
            <a:endParaRPr/>
          </a:p>
        </p:txBody>
      </p:sp>
      <p:cxnSp>
        <p:nvCxnSpPr>
          <p:cNvPr id="172" name="Google Shape;172;p30"/>
          <p:cNvCxnSpPr/>
          <p:nvPr/>
        </p:nvCxnSpPr>
        <p:spPr>
          <a:xfrm>
            <a:off x="381000" y="6340459"/>
            <a:ext cx="11430000" cy="0"/>
          </a:xfrm>
          <a:prstGeom prst="straightConnector1">
            <a:avLst/>
          </a:prstGeom>
          <a:noFill/>
          <a:ln w="12700" cap="flat" cmpd="sng">
            <a:solidFill>
              <a:schemeClr val="dk1"/>
            </a:solidFill>
            <a:prstDash val="solid"/>
            <a:round/>
            <a:headEnd type="none" w="sm" len="sm"/>
            <a:tailEnd type="none" w="sm" len="sm"/>
          </a:ln>
        </p:spPr>
      </p:cxnSp>
      <p:sp>
        <p:nvSpPr>
          <p:cNvPr id="173" name="Google Shape;173;p30"/>
          <p:cNvSpPr txBox="1">
            <a:spLocks noGrp="1"/>
          </p:cNvSpPr>
          <p:nvPr>
            <p:ph type="dt" idx="10"/>
          </p:nvPr>
        </p:nvSpPr>
        <p:spPr>
          <a:xfrm>
            <a:off x="9722048" y="6490068"/>
            <a:ext cx="1517600" cy="126468"/>
          </a:xfrm>
          <a:prstGeom prst="rect">
            <a:avLst/>
          </a:prstGeom>
          <a:noFill/>
          <a:ln>
            <a:noFill/>
          </a:ln>
        </p:spPr>
        <p:txBody>
          <a:bodyPr spcFirstLastPara="1" wrap="square" lIns="0" tIns="3325" rIns="0" bIns="0" anchor="t" anchorCtr="0">
            <a:spAutoFit/>
          </a:bodyPr>
          <a:lstStyle>
            <a:lvl1pPr marR="0" lvl="0" algn="r" rtl="0">
              <a:lnSpc>
                <a:spcPct val="100000"/>
              </a:lnSpc>
              <a:spcBef>
                <a:spcPts val="0"/>
              </a:spcBef>
              <a:spcAft>
                <a:spcPts val="0"/>
              </a:spcAft>
              <a:buClr>
                <a:srgbClr val="000000"/>
              </a:buClr>
              <a:buSzPts val="1100"/>
              <a:buFont typeface="Arial"/>
              <a:buNone/>
              <a:defRPr sz="800" b="0" i="0" u="none" strike="noStrike" cap="none">
                <a:solidFill>
                  <a:schemeClr val="dk1"/>
                </a:solidFill>
                <a:latin typeface="Avenir"/>
                <a:ea typeface="Avenir"/>
                <a:cs typeface="Avenir"/>
                <a:sym typeface="Avenir"/>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9pPr>
          </a:lstStyle>
          <a:p>
            <a:endParaRPr/>
          </a:p>
        </p:txBody>
      </p:sp>
      <p:sp>
        <p:nvSpPr>
          <p:cNvPr id="174" name="Google Shape;174;p30"/>
          <p:cNvSpPr txBox="1"/>
          <p:nvPr/>
        </p:nvSpPr>
        <p:spPr>
          <a:xfrm>
            <a:off x="11303000" y="6490070"/>
            <a:ext cx="508000" cy="126847"/>
          </a:xfrm>
          <a:prstGeom prst="rect">
            <a:avLst/>
          </a:prstGeom>
          <a:noFill/>
          <a:ln>
            <a:noFill/>
          </a:ln>
        </p:spPr>
        <p:txBody>
          <a:bodyPr spcFirstLastPara="1" wrap="square" lIns="0" tIns="3700" rIns="0" bIns="0" anchor="t" anchorCtr="0">
            <a:spAutoFit/>
          </a:bodyPr>
          <a:lstStyle/>
          <a:p>
            <a:pPr marL="16933"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chemeClr val="dk1"/>
                </a:solidFill>
                <a:latin typeface="Avenir"/>
                <a:ea typeface="Avenir"/>
                <a:cs typeface="Avenir"/>
                <a:sym typeface="Avenir"/>
              </a:rPr>
              <a:t>‹#›</a:t>
            </a:fld>
            <a:endParaRPr sz="800" b="0" i="0" u="none" strike="noStrike" cap="none">
              <a:solidFill>
                <a:schemeClr val="dk1"/>
              </a:solidFill>
              <a:latin typeface="Avenir"/>
              <a:ea typeface="Avenir"/>
              <a:cs typeface="Avenir"/>
              <a:sym typeface="Avenir"/>
            </a:endParaRPr>
          </a:p>
        </p:txBody>
      </p:sp>
      <p:pic>
        <p:nvPicPr>
          <p:cNvPr id="175" name="Google Shape;175;p30"/>
          <p:cNvPicPr preferRelativeResize="0"/>
          <p:nvPr/>
        </p:nvPicPr>
        <p:blipFill rotWithShape="1">
          <a:blip r:embed="rId2">
            <a:alphaModFix/>
          </a:blip>
          <a:srcRect/>
          <a:stretch/>
        </p:blipFill>
        <p:spPr>
          <a:xfrm>
            <a:off x="381000" y="6483084"/>
            <a:ext cx="914403" cy="184417"/>
          </a:xfrm>
          <a:prstGeom prst="rect">
            <a:avLst/>
          </a:prstGeom>
          <a:noFill/>
          <a:ln>
            <a:noFill/>
          </a:ln>
        </p:spPr>
      </p:pic>
    </p:spTree>
    <p:extLst>
      <p:ext uri="{BB962C8B-B14F-4D97-AF65-F5344CB8AC3E}">
        <p14:creationId xmlns:p14="http://schemas.microsoft.com/office/powerpoint/2010/main" val="993609263"/>
      </p:ext>
    </p:extLst>
  </p:cSld>
  <p:clrMapOvr>
    <a:masterClrMapping/>
  </p:clrMapOvr>
  <p:extLst>
    <p:ext uri="{DCECCB84-F9BA-43D5-87BE-67443E8EF086}">
      <p15:sldGuideLst xmlns:p15="http://schemas.microsoft.com/office/powerpoint/2012/main">
        <p15:guide id="1" orient="horz" pos="1080">
          <p15:clr>
            <a:srgbClr val="FBAE40"/>
          </p15:clr>
        </p15:guide>
        <p15:guide id="2" orient="horz" pos="1296">
          <p15:clr>
            <a:srgbClr val="FBAE40"/>
          </p15:clr>
        </p15:guide>
        <p15:guide id="3" orient="horz" pos="3456">
          <p15:clr>
            <a:srgbClr val="FBAE40"/>
          </p15:clr>
        </p15:guide>
        <p15:guide id="4" pos="4752">
          <p15:clr>
            <a:srgbClr val="FBAE40"/>
          </p15:clr>
        </p15:guide>
        <p15:guide id="5" pos="496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C5214-9808-12A1-E52D-76C646DAD2F1}"/>
              </a:ext>
            </a:extLst>
          </p:cNvPr>
          <p:cNvSpPr>
            <a:spLocks noGrp="1"/>
          </p:cNvSpPr>
          <p:nvPr>
            <p:ph type="title" hasCustomPrompt="1"/>
          </p:nvPr>
        </p:nvSpPr>
        <p:spPr>
          <a:xfrm>
            <a:off x="304800" y="3109913"/>
            <a:ext cx="11582400" cy="638175"/>
          </a:xfrm>
        </p:spPr>
        <p:txBody>
          <a:bodyPr/>
          <a:lstStyle>
            <a:lvl1pPr algn="ctr">
              <a:defRPr/>
            </a:lvl1pPr>
          </a:lstStyle>
          <a:p>
            <a:r>
              <a:rPr lang="en-US" dirty="0"/>
              <a:t>Enter your statement here</a:t>
            </a:r>
          </a:p>
        </p:txBody>
      </p:sp>
    </p:spTree>
    <p:extLst>
      <p:ext uri="{BB962C8B-B14F-4D97-AF65-F5344CB8AC3E}">
        <p14:creationId xmlns:p14="http://schemas.microsoft.com/office/powerpoint/2010/main" val="418333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Full gradient 2">
    <p:spTree>
      <p:nvGrpSpPr>
        <p:cNvPr id="1" name=""/>
        <p:cNvGrpSpPr/>
        <p:nvPr/>
      </p:nvGrpSpPr>
      <p:grpSpPr>
        <a:xfrm>
          <a:off x="0" y="0"/>
          <a:ext cx="0" cy="0"/>
          <a:chOff x="0" y="0"/>
          <a:chExt cx="0" cy="0"/>
        </a:xfrm>
      </p:grpSpPr>
      <p:pic>
        <p:nvPicPr>
          <p:cNvPr id="2" name="Picture 1" descr="A colorful background with a few colors&#10;&#10;Description automatically generated with medium confidence">
            <a:extLst>
              <a:ext uri="{FF2B5EF4-FFF2-40B4-BE49-F238E27FC236}">
                <a16:creationId xmlns:a16="http://schemas.microsoft.com/office/drawing/2014/main" id="{382C621B-344A-24BF-6464-FD9E0D2E9E63}"/>
              </a:ext>
            </a:extLst>
          </p:cNvPr>
          <p:cNvPicPr>
            <a:picLocks noChangeAspect="1"/>
          </p:cNvPicPr>
          <p:nvPr userDrawn="1"/>
        </p:nvPicPr>
        <p:blipFill>
          <a:blip r:embed="rId2">
            <a:alphaModFix amt="85000"/>
          </a:blip>
          <a:srcRect t="7812" b="7812"/>
          <a:stretch>
            <a:fillRect/>
          </a:stretch>
        </p:blipFill>
        <p:spPr>
          <a:xfrm flipH="1">
            <a:off x="0" y="-1"/>
            <a:ext cx="12192000" cy="6858005"/>
          </a:xfrm>
          <a:prstGeom prst="rect">
            <a:avLst/>
          </a:prstGeom>
        </p:spPr>
      </p:pic>
      <p:sp>
        <p:nvSpPr>
          <p:cNvPr id="3" name="Title 1">
            <a:extLst>
              <a:ext uri="{FF2B5EF4-FFF2-40B4-BE49-F238E27FC236}">
                <a16:creationId xmlns:a16="http://schemas.microsoft.com/office/drawing/2014/main" id="{A505F2E6-ADDD-3CAD-7658-13C12A1119C1}"/>
              </a:ext>
            </a:extLst>
          </p:cNvPr>
          <p:cNvSpPr>
            <a:spLocks noGrp="1"/>
          </p:cNvSpPr>
          <p:nvPr>
            <p:ph type="title" hasCustomPrompt="1"/>
          </p:nvPr>
        </p:nvSpPr>
        <p:spPr>
          <a:xfrm>
            <a:off x="304800" y="3109913"/>
            <a:ext cx="11582400" cy="638175"/>
          </a:xfrm>
        </p:spPr>
        <p:txBody>
          <a:bodyPr/>
          <a:lstStyle>
            <a:lvl1pPr algn="ctr">
              <a:defRPr/>
            </a:lvl1pPr>
          </a:lstStyle>
          <a:p>
            <a:r>
              <a:rPr lang="en-US" dirty="0"/>
              <a:t>Enter your statement here</a:t>
            </a:r>
          </a:p>
        </p:txBody>
      </p:sp>
      <p:sp>
        <p:nvSpPr>
          <p:cNvPr id="4" name="TextBox 3">
            <a:extLst>
              <a:ext uri="{FF2B5EF4-FFF2-40B4-BE49-F238E27FC236}">
                <a16:creationId xmlns:a16="http://schemas.microsoft.com/office/drawing/2014/main" id="{DDD90955-D0C4-FCED-441C-314DD2343B5F}"/>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5" name="Picture 4">
            <a:extLst>
              <a:ext uri="{FF2B5EF4-FFF2-40B4-BE49-F238E27FC236}">
                <a16:creationId xmlns:a16="http://schemas.microsoft.com/office/drawing/2014/main" id="{B09A1A5E-FED4-42CB-6B8D-DD3AB917555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28562721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 – Europe/Global">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10"/>
          <p:cNvSpPr>
            <a:spLocks noGrp="1"/>
          </p:cNvSpPr>
          <p:nvPr>
            <p:ph type="body" sz="quarter" idx="11" hasCustomPrompt="1"/>
          </p:nvPr>
        </p:nvSpPr>
        <p:spPr>
          <a:xfrm>
            <a:off x="624002" y="5641799"/>
            <a:ext cx="2415116" cy="315984"/>
          </a:xfrm>
          <a:prstGeom prst="rect">
            <a:avLst/>
          </a:prstGeom>
        </p:spPr>
        <p:txBody>
          <a:bodyPr vert="horz" lIns="0" tIns="0" rIns="0" bIns="0" anchor="t" anchorCtr="0">
            <a:noAutofit/>
          </a:bodyPr>
          <a:lstStyle>
            <a:lvl1pPr marL="0" indent="0">
              <a:lnSpc>
                <a:spcPct val="110000"/>
              </a:lnSpc>
              <a:spcAft>
                <a:spcPts val="0"/>
              </a:spcAft>
              <a:buNone/>
              <a:defRPr sz="933" b="0" baseline="0">
                <a:solidFill>
                  <a:schemeClr val="bg1"/>
                </a:solidFill>
              </a:defRPr>
            </a:lvl1pPr>
          </a:lstStyle>
          <a:p>
            <a:pPr lvl="0"/>
            <a:r>
              <a:rPr lang="en-GB" noProof="0"/>
              <a:t>PRESENTED BY</a:t>
            </a:r>
          </a:p>
          <a:p>
            <a:pPr lvl="0"/>
            <a:r>
              <a:rPr lang="en-GB" noProof="0" err="1"/>
              <a:t>Firstname</a:t>
            </a:r>
            <a:r>
              <a:rPr lang="en-GB" noProof="0"/>
              <a:t> </a:t>
            </a:r>
            <a:r>
              <a:rPr lang="en-GB" noProof="0" err="1"/>
              <a:t>Lastname</a:t>
            </a:r>
            <a:endParaRPr lang="en-GB" noProof="0"/>
          </a:p>
        </p:txBody>
      </p:sp>
      <p:sp>
        <p:nvSpPr>
          <p:cNvPr id="12" name="Text Placeholder 10"/>
          <p:cNvSpPr>
            <a:spLocks noGrp="1"/>
          </p:cNvSpPr>
          <p:nvPr>
            <p:ph type="body" sz="quarter" idx="12" hasCustomPrompt="1"/>
          </p:nvPr>
        </p:nvSpPr>
        <p:spPr>
          <a:xfrm>
            <a:off x="3039118" y="5641799"/>
            <a:ext cx="2415116" cy="315984"/>
          </a:xfrm>
          <a:prstGeom prst="rect">
            <a:avLst/>
          </a:prstGeom>
        </p:spPr>
        <p:txBody>
          <a:bodyPr vert="horz" lIns="0" tIns="0" rIns="0" bIns="0" anchor="t" anchorCtr="0">
            <a:noAutofit/>
          </a:bodyPr>
          <a:lstStyle>
            <a:lvl1pPr marL="0" indent="0">
              <a:lnSpc>
                <a:spcPct val="110000"/>
              </a:lnSpc>
              <a:spcAft>
                <a:spcPts val="0"/>
              </a:spcAft>
              <a:buNone/>
              <a:defRPr sz="933" b="0" baseline="0">
                <a:solidFill>
                  <a:schemeClr val="bg1"/>
                </a:solidFill>
              </a:defRPr>
            </a:lvl1pPr>
          </a:lstStyle>
          <a:p>
            <a:pPr lvl="0"/>
            <a:r>
              <a:rPr lang="en-GB" noProof="0"/>
              <a:t>PRESENTED ON</a:t>
            </a:r>
          </a:p>
          <a:p>
            <a:pPr lvl="0"/>
            <a:r>
              <a:rPr lang="en-GB" noProof="0"/>
              <a:t>DD Month YYYY</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rot="10800000" flipH="1" flipV="1">
            <a:off x="10629769" y="481334"/>
            <a:ext cx="958985" cy="671964"/>
          </a:xfrm>
          <a:prstGeom prst="rect">
            <a:avLst/>
          </a:prstGeom>
        </p:spPr>
      </p:pic>
      <p:sp>
        <p:nvSpPr>
          <p:cNvPr id="13" name="TextBox 12"/>
          <p:cNvSpPr txBox="1"/>
          <p:nvPr userDrawn="1"/>
        </p:nvSpPr>
        <p:spPr>
          <a:xfrm>
            <a:off x="618308" y="6582195"/>
            <a:ext cx="2336800" cy="123860"/>
          </a:xfrm>
          <a:prstGeom prst="rect">
            <a:avLst/>
          </a:prstGeom>
        </p:spPr>
        <p:txBody>
          <a:bodyPr vert="horz" wrap="square" lIns="0" tIns="0" rIns="0" bIns="0" rtlCol="0" anchor="b" anchorCtr="0">
            <a:noAutofit/>
          </a:bodyPr>
          <a:lstStyle/>
          <a:p>
            <a:pPr marL="0" marR="0" indent="0" algn="l" defTabSz="1219139" rtl="0" eaLnBrk="1" fontAlgn="auto" latinLnBrk="0" hangingPunct="1">
              <a:lnSpc>
                <a:spcPct val="114000"/>
              </a:lnSpc>
              <a:spcBef>
                <a:spcPts val="0"/>
              </a:spcBef>
              <a:spcAft>
                <a:spcPts val="1067"/>
              </a:spcAft>
              <a:buClrTx/>
              <a:buSzTx/>
              <a:buFont typeface="Wingdings 3" pitchFamily="18" charset="2"/>
              <a:buNone/>
              <a:tabLst/>
            </a:pPr>
            <a:r>
              <a:rPr kumimoji="0" lang="en-GB" sz="800" b="1" i="0" u="none" strike="noStrike" kern="1200" cap="none" spc="0" normalizeH="0" baseline="0" noProof="0">
                <a:ln>
                  <a:noFill/>
                </a:ln>
                <a:solidFill>
                  <a:schemeClr val="bg1"/>
                </a:solidFill>
                <a:effectLst/>
                <a:uLnTx/>
                <a:uFillTx/>
                <a:latin typeface="Arial" pitchFamily="34" charset="0"/>
                <a:ea typeface="+mn-ea"/>
                <a:cs typeface="Arial" pitchFamily="34" charset="0"/>
              </a:rPr>
              <a:t>SES Proprietary and Confidential</a:t>
            </a:r>
          </a:p>
        </p:txBody>
      </p:sp>
      <p:sp>
        <p:nvSpPr>
          <p:cNvPr id="14" name="Line 9"/>
          <p:cNvSpPr>
            <a:spLocks noChangeShapeType="1"/>
          </p:cNvSpPr>
          <p:nvPr userDrawn="1"/>
        </p:nvSpPr>
        <p:spPr bwMode="auto">
          <a:xfrm>
            <a:off x="615950" y="5538263"/>
            <a:ext cx="2345649" cy="0"/>
          </a:xfrm>
          <a:prstGeom prst="line">
            <a:avLst/>
          </a:prstGeom>
          <a:noFill/>
          <a:ln w="57150" cmpd="sng">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15" name="Line 9"/>
          <p:cNvSpPr>
            <a:spLocks noChangeShapeType="1"/>
          </p:cNvSpPr>
          <p:nvPr userDrawn="1"/>
        </p:nvSpPr>
        <p:spPr bwMode="auto">
          <a:xfrm>
            <a:off x="3039116" y="5538263"/>
            <a:ext cx="2352000" cy="0"/>
          </a:xfrm>
          <a:prstGeom prst="line">
            <a:avLst/>
          </a:prstGeom>
          <a:noFill/>
          <a:ln w="57150" cmpd="sng">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10" name="Text Placeholder 5"/>
          <p:cNvSpPr>
            <a:spLocks noGrp="1"/>
          </p:cNvSpPr>
          <p:nvPr>
            <p:ph type="body" sz="quarter" idx="13" hasCustomPrompt="1"/>
          </p:nvPr>
        </p:nvSpPr>
        <p:spPr>
          <a:xfrm>
            <a:off x="609601" y="216811"/>
            <a:ext cx="8884289" cy="2881208"/>
          </a:xfrm>
          <a:prstGeom prst="rect">
            <a:avLst/>
          </a:prstGeom>
        </p:spPr>
        <p:txBody>
          <a:bodyPr lIns="0" tIns="0" rIns="0" bIns="0"/>
          <a:lstStyle>
            <a:lvl1pPr marL="0" indent="0">
              <a:lnSpc>
                <a:spcPct val="150000"/>
              </a:lnSpc>
              <a:spcAft>
                <a:spcPts val="0"/>
              </a:spcAft>
              <a:buNone/>
              <a:defRPr sz="4800" b="1" i="0" spc="-40" baseline="0">
                <a:solidFill>
                  <a:schemeClr val="bg1"/>
                </a:solidFill>
                <a:latin typeface="Arial Black" charset="0"/>
                <a:ea typeface="Arial Black" charset="0"/>
                <a:cs typeface="Arial Black" charset="0"/>
              </a:defRPr>
            </a:lvl1pPr>
            <a:lvl2pPr marL="358691" indent="0">
              <a:buNone/>
              <a:defRPr>
                <a:solidFill>
                  <a:schemeClr val="bg1"/>
                </a:solidFill>
              </a:defRPr>
            </a:lvl2pPr>
            <a:lvl3pPr marL="598685" indent="0">
              <a:buNone/>
              <a:defRPr>
                <a:solidFill>
                  <a:schemeClr val="bg1"/>
                </a:solidFill>
              </a:defRPr>
            </a:lvl3pPr>
            <a:lvl4pPr marL="862678" indent="0">
              <a:buNone/>
              <a:defRPr>
                <a:solidFill>
                  <a:schemeClr val="bg1"/>
                </a:solidFill>
              </a:defRPr>
            </a:lvl4pPr>
            <a:lvl5pPr marL="1104788" indent="0">
              <a:buNone/>
              <a:defRPr>
                <a:solidFill>
                  <a:schemeClr val="bg1"/>
                </a:solidFill>
              </a:defRPr>
            </a:lvl5pPr>
          </a:lstStyle>
          <a:p>
            <a:pPr lvl="0"/>
            <a:r>
              <a:rPr lang="en-US"/>
              <a:t>Cover Title</a:t>
            </a:r>
            <a:br>
              <a:rPr lang="en-US"/>
            </a:br>
            <a:r>
              <a:rPr lang="en-US"/>
              <a:t>Arial Black</a:t>
            </a:r>
          </a:p>
          <a:p>
            <a:pPr lvl="0"/>
            <a:r>
              <a:rPr lang="en-US"/>
              <a:t>36pt</a:t>
            </a:r>
            <a:endParaRPr lang="en-GB"/>
          </a:p>
        </p:txBody>
      </p:sp>
    </p:spTree>
    <p:extLst>
      <p:ext uri="{BB962C8B-B14F-4D97-AF65-F5344CB8AC3E}">
        <p14:creationId xmlns:p14="http://schemas.microsoft.com/office/powerpoint/2010/main" val="232756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9" name="Line 9"/>
          <p:cNvSpPr>
            <a:spLocks noChangeShapeType="1"/>
          </p:cNvSpPr>
          <p:nvPr userDrawn="1"/>
        </p:nvSpPr>
        <p:spPr bwMode="auto">
          <a:xfrm>
            <a:off x="592185" y="6396871"/>
            <a:ext cx="10972800" cy="0"/>
          </a:xfrm>
          <a:prstGeom prst="line">
            <a:avLst/>
          </a:prstGeom>
          <a:noFill/>
          <a:ln w="6350" cmpd="sng">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21"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
        <p:nvSpPr>
          <p:cNvPr id="28"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29"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8" name="Content Placeholder 2"/>
          <p:cNvSpPr>
            <a:spLocks noGrp="1"/>
          </p:cNvSpPr>
          <p:nvPr>
            <p:ph sz="quarter" idx="12" hasCustomPrompt="1"/>
          </p:nvPr>
        </p:nvSpPr>
        <p:spPr>
          <a:xfrm>
            <a:off x="627836" y="1604435"/>
            <a:ext cx="10972800" cy="4651741"/>
          </a:xfrm>
          <a:prstGeom prst="rect">
            <a:avLst/>
          </a:prstGeom>
        </p:spPr>
        <p:txBody>
          <a:bodyPr lIns="0" tIns="0" rIns="0" bIns="0"/>
          <a:lstStyle>
            <a:lvl1pPr>
              <a:spcBef>
                <a:spcPts val="800"/>
              </a:spcBef>
              <a:defRPr sz="1867"/>
            </a:lvl1pPr>
            <a:lvl2pPr>
              <a:spcBef>
                <a:spcPts val="800"/>
              </a:spcBef>
              <a:defRPr sz="1600"/>
            </a:lvl2pPr>
            <a:lvl3pPr>
              <a:lnSpc>
                <a:spcPct val="100000"/>
              </a:lnSpc>
              <a:spcBef>
                <a:spcPts val="800"/>
              </a:spcBef>
              <a:defRPr sz="1333"/>
            </a:lvl3pPr>
          </a:lstStyle>
          <a:p>
            <a:r>
              <a:rPr lang="en-GB"/>
              <a:t>Level 1, Arial Regular 14 pt.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magna </a:t>
            </a:r>
            <a:r>
              <a:rPr lang="en-GB" err="1"/>
              <a:t>aliquam</a:t>
            </a:r>
            <a:r>
              <a:rPr lang="en-GB"/>
              <a:t> </a:t>
            </a:r>
            <a:r>
              <a:rPr lang="en-GB" err="1"/>
              <a:t>erat</a:t>
            </a:r>
            <a:r>
              <a:rPr lang="en-GB"/>
              <a:t> </a:t>
            </a:r>
            <a:r>
              <a:rPr lang="en-GB" err="1"/>
              <a:t>volutpat</a:t>
            </a:r>
            <a:endParaRPr lang="en-GB"/>
          </a:p>
          <a:p>
            <a:pPr lvl="1"/>
            <a:r>
              <a:rPr lang="en-GB"/>
              <a:t>Level 2, Arial Regular 12 pt. </a:t>
            </a:r>
          </a:p>
          <a:p>
            <a:pPr lvl="2"/>
            <a:r>
              <a:rPr lang="en-GB"/>
              <a:t>Level 3, Arial Regular 10 pt.</a:t>
            </a:r>
          </a:p>
        </p:txBody>
      </p:sp>
      <p:sp>
        <p:nvSpPr>
          <p:cNvPr id="12"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Tree>
    <p:extLst>
      <p:ext uri="{BB962C8B-B14F-4D97-AF65-F5344CB8AC3E}">
        <p14:creationId xmlns:p14="http://schemas.microsoft.com/office/powerpoint/2010/main" val="114858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p:txBody>
          <a:bodyPr/>
          <a:lstStyle>
            <a:lvl1pPr>
              <a:defRPr/>
            </a:lvl1pPr>
          </a:lstStyle>
          <a:p>
            <a:r>
              <a:rPr lang="en-US" dirty="0"/>
              <a:t>Two-column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1"/>
            <a:ext cx="5248275" cy="2382532"/>
          </a:xfrm>
        </p:spPr>
        <p:txBody>
          <a:bodyPr/>
          <a:lstStyle>
            <a:lvl1pPr marL="0" indent="0">
              <a:spcAft>
                <a:spcPts val="1800"/>
              </a:spcAft>
              <a:buNone/>
              <a:defRPr sz="2400"/>
            </a:lvl1pPr>
            <a:lvl2pPr marL="285744" indent="0">
              <a:spcAft>
                <a:spcPts val="1800"/>
              </a:spcAft>
              <a:buNone/>
              <a:defRPr sz="2000"/>
            </a:lvl2pPr>
            <a:lvl3pPr marL="628635" indent="0">
              <a:spcAft>
                <a:spcPts val="1800"/>
              </a:spcAft>
              <a:buNone/>
              <a:defRPr sz="1800"/>
            </a:lvl3pPr>
            <a:lvl4pPr marL="914377" indent="0">
              <a:spcAft>
                <a:spcPts val="1800"/>
              </a:spcAft>
              <a:buNone/>
              <a:defRPr sz="1600"/>
            </a:lvl4pPr>
            <a:lvl5pPr marL="1142971" indent="0">
              <a:spcAft>
                <a:spcPts val="1800"/>
              </a:spcAft>
              <a:buNone/>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6" y="1714499"/>
            <a:ext cx="5248276" cy="2382532"/>
          </a:xfrm>
        </p:spPr>
        <p:txBody>
          <a:bodyPr/>
          <a:lstStyle>
            <a:lvl1pPr marL="0" indent="0">
              <a:spcAft>
                <a:spcPts val="1800"/>
              </a:spcAft>
              <a:buNone/>
              <a:defRPr sz="2400"/>
            </a:lvl1pPr>
            <a:lvl2pPr marL="285744" indent="0">
              <a:spcAft>
                <a:spcPts val="1800"/>
              </a:spcAft>
              <a:buNone/>
              <a:defRPr sz="2000"/>
            </a:lvl2pPr>
            <a:lvl3pPr marL="628635" indent="0">
              <a:spcAft>
                <a:spcPts val="1800"/>
              </a:spcAft>
              <a:buNone/>
              <a:defRPr sz="1800"/>
            </a:lvl3pPr>
            <a:lvl4pPr marL="914377" indent="0">
              <a:spcAft>
                <a:spcPts val="1800"/>
              </a:spcAft>
              <a:buNone/>
              <a:defRPr sz="1600"/>
            </a:lvl4pPr>
            <a:lvl5pPr marL="1142971" indent="0">
              <a:spcAft>
                <a:spcPts val="1800"/>
              </a:spcAft>
              <a:buNone/>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B8530C4-DC55-4C62-84CC-692229E78516}"/>
              </a:ext>
            </a:extLst>
          </p:cNvPr>
          <p:cNvSpPr>
            <a:spLocks noGrp="1"/>
          </p:cNvSpPr>
          <p:nvPr>
            <p:ph type="dt" sz="half" idx="10"/>
          </p:nvPr>
        </p:nvSpPr>
        <p:spPr/>
        <p:txBody>
          <a:bodyPr/>
          <a:lstStyle/>
          <a:p>
            <a:fld id="{A81AAC3A-7B46-4E23-B400-FA445C0AC9AE}" type="datetime1">
              <a:rPr lang="en-US" smtClean="0"/>
              <a:t>3/13/26</a:t>
            </a:fld>
            <a:endParaRPr lang="en-US" dirty="0"/>
          </a:p>
        </p:txBody>
      </p:sp>
      <p:sp>
        <p:nvSpPr>
          <p:cNvPr id="6" name="Footer Placeholder 5">
            <a:extLst>
              <a:ext uri="{FF2B5EF4-FFF2-40B4-BE49-F238E27FC236}">
                <a16:creationId xmlns:a16="http://schemas.microsoft.com/office/drawing/2014/main" id="{A64B8C68-5C05-4F96-9FF2-B531F83A539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6B81369-2E97-4C0B-9762-D765E28372D1}"/>
              </a:ext>
            </a:extLst>
          </p:cNvPr>
          <p:cNvSpPr>
            <a:spLocks noGrp="1"/>
          </p:cNvSpPr>
          <p:nvPr>
            <p:ph type="sldNum" sz="quarter" idx="12"/>
          </p:nvPr>
        </p:nvSpPr>
        <p:spPr/>
        <p:txBody>
          <a:body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53943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615952" y="1604433"/>
            <a:ext cx="5247217" cy="1943481"/>
          </a:xfrm>
          <a:prstGeom prst="rect">
            <a:avLst/>
          </a:prstGeom>
        </p:spPr>
        <p:txBody>
          <a:bodyPr wrap="square"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713282" marR="0" indent="-17355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Content Placeholder 6"/>
          <p:cNvSpPr>
            <a:spLocks noGrp="1"/>
          </p:cNvSpPr>
          <p:nvPr>
            <p:ph sz="quarter" idx="13"/>
          </p:nvPr>
        </p:nvSpPr>
        <p:spPr>
          <a:xfrm>
            <a:off x="6341535" y="1604433"/>
            <a:ext cx="5247216" cy="1943481"/>
          </a:xfrm>
          <a:prstGeom prst="rect">
            <a:avLst/>
          </a:prstGeom>
        </p:spPr>
        <p:txBody>
          <a:bodyPr wrap="square"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713282" marR="0" indent="-17355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9"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10"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9"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10493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riple Column">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615951" y="1604433"/>
            <a:ext cx="3535680" cy="1943481"/>
          </a:xfrm>
          <a:prstGeom prst="rect">
            <a:avLst/>
          </a:prstGeom>
        </p:spPr>
        <p:txBody>
          <a:bodyPr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Content Placeholder 6"/>
          <p:cNvSpPr>
            <a:spLocks noGrp="1"/>
          </p:cNvSpPr>
          <p:nvPr>
            <p:ph sz="quarter" idx="13"/>
          </p:nvPr>
        </p:nvSpPr>
        <p:spPr>
          <a:xfrm>
            <a:off x="8046720" y="1604433"/>
            <a:ext cx="3535680" cy="1943481"/>
          </a:xfrm>
          <a:prstGeom prst="rect">
            <a:avLst/>
          </a:prstGeom>
        </p:spPr>
        <p:txBody>
          <a:bodyPr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Content Placeholder 6"/>
          <p:cNvSpPr>
            <a:spLocks noGrp="1"/>
          </p:cNvSpPr>
          <p:nvPr>
            <p:ph sz="quarter" idx="14"/>
          </p:nvPr>
        </p:nvSpPr>
        <p:spPr>
          <a:xfrm>
            <a:off x="4328160" y="1604433"/>
            <a:ext cx="3535680" cy="1943481"/>
          </a:xfrm>
          <a:prstGeom prst="rect">
            <a:avLst/>
          </a:prstGeom>
        </p:spPr>
        <p:txBody>
          <a:bodyPr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20"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13"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9"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14838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left + text">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a:xfrm>
            <a:off x="606425" y="1604433"/>
            <a:ext cx="5250392" cy="4656667"/>
          </a:xfrm>
          <a:prstGeom prst="rect">
            <a:avLst/>
          </a:prstGeom>
        </p:spPr>
        <p:txBody>
          <a:bodyPr lIns="0" tIns="0" rIns="0" bIns="0"/>
          <a:lstStyle>
            <a:lvl1pPr>
              <a:lnSpc>
                <a:spcPct val="100000"/>
              </a:lnSpc>
              <a:defRPr sz="1867"/>
            </a:lvl1pPr>
          </a:lstStyle>
          <a:p>
            <a:r>
              <a:rPr lang="en-GB" noProof="0"/>
              <a:t>Click on icon to insert picture</a:t>
            </a:r>
          </a:p>
        </p:txBody>
      </p:sp>
      <p:sp>
        <p:nvSpPr>
          <p:cNvPr id="11" name="Content Placeholder 6"/>
          <p:cNvSpPr>
            <a:spLocks noGrp="1"/>
          </p:cNvSpPr>
          <p:nvPr>
            <p:ph sz="quarter" idx="13"/>
          </p:nvPr>
        </p:nvSpPr>
        <p:spPr>
          <a:xfrm>
            <a:off x="6341535" y="1604433"/>
            <a:ext cx="5247216" cy="1943481"/>
          </a:xfrm>
          <a:prstGeom prst="rect">
            <a:avLst/>
          </a:prstGeom>
        </p:spPr>
        <p:txBody>
          <a:bodyPr wrap="square"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4"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9"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8"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204435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right + text">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a:xfrm>
            <a:off x="6335184" y="1599723"/>
            <a:ext cx="5247216" cy="4661377"/>
          </a:xfrm>
          <a:prstGeom prst="rect">
            <a:avLst/>
          </a:prstGeom>
        </p:spPr>
        <p:txBody>
          <a:bodyPr lIns="0" tIns="0" rIns="0" bIns="0"/>
          <a:lstStyle>
            <a:lvl1pPr>
              <a:defRPr sz="1867"/>
            </a:lvl1pPr>
          </a:lstStyle>
          <a:p>
            <a:r>
              <a:rPr lang="en-GB" noProof="0"/>
              <a:t>Click on icon to insert picture</a:t>
            </a:r>
          </a:p>
        </p:txBody>
      </p:sp>
      <p:sp>
        <p:nvSpPr>
          <p:cNvPr id="10" name="Content Placeholder 6"/>
          <p:cNvSpPr>
            <a:spLocks noGrp="1"/>
          </p:cNvSpPr>
          <p:nvPr>
            <p:ph sz="quarter" idx="16"/>
          </p:nvPr>
        </p:nvSpPr>
        <p:spPr>
          <a:xfrm>
            <a:off x="616812" y="1604433"/>
            <a:ext cx="5240005" cy="1943481"/>
          </a:xfrm>
          <a:prstGeom prst="rect">
            <a:avLst/>
          </a:prstGeom>
        </p:spPr>
        <p:txBody>
          <a:bodyPr wrap="square"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4"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9"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8"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428837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mage left + text with caption">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a:xfrm>
            <a:off x="615951" y="1604433"/>
            <a:ext cx="5240003" cy="4323755"/>
          </a:xfrm>
          <a:prstGeom prst="rect">
            <a:avLst/>
          </a:prstGeom>
        </p:spPr>
        <p:txBody>
          <a:bodyPr lIns="0" tIns="0" rIns="0" bIns="0"/>
          <a:lstStyle>
            <a:lvl1pPr>
              <a:lnSpc>
                <a:spcPct val="100000"/>
              </a:lnSpc>
              <a:defRPr sz="1733"/>
            </a:lvl1pPr>
          </a:lstStyle>
          <a:p>
            <a:r>
              <a:rPr lang="en-GB" noProof="0"/>
              <a:t>Click on icon to insert picture</a:t>
            </a:r>
          </a:p>
        </p:txBody>
      </p:sp>
      <p:sp>
        <p:nvSpPr>
          <p:cNvPr id="11" name="Content Placeholder 6"/>
          <p:cNvSpPr>
            <a:spLocks noGrp="1"/>
          </p:cNvSpPr>
          <p:nvPr>
            <p:ph sz="quarter" idx="13"/>
          </p:nvPr>
        </p:nvSpPr>
        <p:spPr>
          <a:xfrm>
            <a:off x="6335184" y="1604433"/>
            <a:ext cx="5247216" cy="1943481"/>
          </a:xfrm>
          <a:prstGeom prst="rect">
            <a:avLst/>
          </a:prstGeom>
        </p:spPr>
        <p:txBody>
          <a:bodyPr wrap="square"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5"/>
          <p:cNvSpPr>
            <a:spLocks noGrp="1"/>
          </p:cNvSpPr>
          <p:nvPr>
            <p:ph type="body" sz="quarter" idx="15" hasCustomPrompt="1"/>
          </p:nvPr>
        </p:nvSpPr>
        <p:spPr>
          <a:xfrm>
            <a:off x="609600" y="5928188"/>
            <a:ext cx="5401056" cy="480000"/>
          </a:xfrm>
          <a:prstGeom prst="rect">
            <a:avLst/>
          </a:prstGeom>
        </p:spPr>
        <p:txBody>
          <a:bodyPr lIns="0" tIns="72000" rIns="0" bIns="0" anchor="t" anchorCtr="0"/>
          <a:lstStyle>
            <a:lvl1pPr marL="0" indent="0">
              <a:buNone/>
              <a:defRPr lang="en-US" sz="1067" dirty="0" smtClean="0"/>
            </a:lvl1pPr>
            <a:lvl2pPr>
              <a:defRPr lang="en-US" dirty="0" smtClean="0"/>
            </a:lvl2pPr>
            <a:lvl3pPr>
              <a:defRPr lang="en-US" dirty="0" smtClean="0"/>
            </a:lvl3pPr>
            <a:lvl4pPr>
              <a:defRPr lang="en-US" dirty="0" smtClean="0"/>
            </a:lvl4pPr>
            <a:lvl5pPr>
              <a:defRPr lang="en-CA" dirty="0"/>
            </a:lvl5pPr>
          </a:lstStyle>
          <a:p>
            <a:pPr marL="0" indent="0">
              <a:buNone/>
            </a:pPr>
            <a:r>
              <a:rPr lang="en-GB" sz="1067" noProof="0"/>
              <a:t>This is the caption for this image, Arial Regular 8 pt.</a:t>
            </a:r>
          </a:p>
        </p:txBody>
      </p:sp>
      <p:sp>
        <p:nvSpPr>
          <p:cNvPr id="13"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5"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14"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9"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281109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mage right + text with caption">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a:xfrm>
            <a:off x="6335184" y="1604433"/>
            <a:ext cx="5247216" cy="4323755"/>
          </a:xfrm>
          <a:prstGeom prst="rect">
            <a:avLst/>
          </a:prstGeom>
        </p:spPr>
        <p:txBody>
          <a:bodyPr lIns="0" tIns="0" rIns="0" bIns="0"/>
          <a:lstStyle>
            <a:lvl1pPr>
              <a:defRPr sz="1867"/>
            </a:lvl1pPr>
          </a:lstStyle>
          <a:p>
            <a:r>
              <a:rPr lang="en-GB" noProof="0"/>
              <a:t>Click on icon to insert picture</a:t>
            </a:r>
          </a:p>
        </p:txBody>
      </p:sp>
      <p:sp>
        <p:nvSpPr>
          <p:cNvPr id="9" name="Text Placeholder 5"/>
          <p:cNvSpPr>
            <a:spLocks noGrp="1"/>
          </p:cNvSpPr>
          <p:nvPr>
            <p:ph type="body" sz="quarter" idx="15" hasCustomPrompt="1"/>
          </p:nvPr>
        </p:nvSpPr>
        <p:spPr>
          <a:xfrm>
            <a:off x="6335184" y="5928188"/>
            <a:ext cx="5247216" cy="480000"/>
          </a:xfrm>
          <a:prstGeom prst="rect">
            <a:avLst/>
          </a:prstGeom>
        </p:spPr>
        <p:txBody>
          <a:bodyPr lIns="0" tIns="72000" rIns="0" bIns="0" anchor="t" anchorCtr="0"/>
          <a:lstStyle>
            <a:lvl1pPr marL="0" indent="0">
              <a:buNone/>
              <a:defRPr lang="en-US" sz="1067" dirty="0" smtClean="0"/>
            </a:lvl1pPr>
            <a:lvl2pPr>
              <a:defRPr lang="en-US" dirty="0" smtClean="0"/>
            </a:lvl2pPr>
            <a:lvl3pPr>
              <a:defRPr lang="en-US" dirty="0" smtClean="0"/>
            </a:lvl3pPr>
            <a:lvl4pPr>
              <a:defRPr lang="en-US" dirty="0" smtClean="0"/>
            </a:lvl4pPr>
            <a:lvl5pPr>
              <a:defRPr lang="en-CA" dirty="0"/>
            </a:lvl5pPr>
          </a:lstStyle>
          <a:p>
            <a:pPr marL="0" indent="0">
              <a:buNone/>
            </a:pPr>
            <a:r>
              <a:rPr lang="en-GB" sz="1067" noProof="0"/>
              <a:t>This is the caption for this image, Arial Regular 8 pt.</a:t>
            </a:r>
          </a:p>
        </p:txBody>
      </p:sp>
      <p:sp>
        <p:nvSpPr>
          <p:cNvPr id="14"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6"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11"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15" name="Content Placeholder 6"/>
          <p:cNvSpPr>
            <a:spLocks noGrp="1"/>
          </p:cNvSpPr>
          <p:nvPr>
            <p:ph sz="quarter" idx="16"/>
          </p:nvPr>
        </p:nvSpPr>
        <p:spPr>
          <a:xfrm>
            <a:off x="616812" y="1604433"/>
            <a:ext cx="5240005" cy="1943481"/>
          </a:xfrm>
          <a:prstGeom prst="rect">
            <a:avLst/>
          </a:prstGeom>
        </p:spPr>
        <p:txBody>
          <a:bodyPr wrap="square" lIns="0" tIns="0" rIns="0" bIns="0">
            <a:spAutoFit/>
          </a:bodyPr>
          <a:lstStyle>
            <a:lvl1pPr>
              <a:lnSpc>
                <a:spcPct val="100000"/>
              </a:lnSpc>
              <a:defRPr sz="1867"/>
            </a:lvl1pPr>
            <a:lvl2pPr marL="599970" marR="0" indent="-241287" algn="l" defTabSz="1219139" rtl="0" eaLnBrk="1" fontAlgn="auto" latinLnBrk="0" hangingPunct="1">
              <a:lnSpc>
                <a:spcPct val="100000"/>
              </a:lnSpc>
              <a:spcBef>
                <a:spcPts val="267"/>
              </a:spcBef>
              <a:spcAft>
                <a:spcPts val="1067"/>
              </a:spcAft>
              <a:buClrTx/>
              <a:buSzPct val="100000"/>
              <a:buFont typeface="Arial" pitchFamily="34" charset="0"/>
              <a:buChar char="•"/>
              <a:tabLst/>
              <a:defRPr sz="1600"/>
            </a:lvl2pPr>
            <a:lvl3pPr marL="838159" marR="0" indent="-241287" algn="l" defTabSz="1219139" rtl="0" eaLnBrk="1" fontAlgn="auto" latinLnBrk="0" hangingPunct="1">
              <a:lnSpc>
                <a:spcPct val="100000"/>
              </a:lnSpc>
              <a:spcBef>
                <a:spcPts val="533"/>
              </a:spcBef>
              <a:spcAft>
                <a:spcPts val="1067"/>
              </a:spcAft>
              <a:buClrTx/>
              <a:buSzTx/>
              <a:buFont typeface="Verdana" pitchFamily="34" charset="0"/>
              <a:buChar char="-"/>
              <a:tabLst/>
              <a:defRPr sz="1333"/>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69498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615951" y="1604433"/>
            <a:ext cx="10972800" cy="4656667"/>
          </a:xfrm>
          <a:prstGeom prst="rect">
            <a:avLst/>
          </a:prstGeom>
        </p:spPr>
        <p:txBody>
          <a:bodyPr lIns="0" tIns="0" rIns="0" bIns="0"/>
          <a:lstStyle>
            <a:lvl1pPr>
              <a:defRPr sz="1867"/>
            </a:lvl1pPr>
          </a:lstStyle>
          <a:p>
            <a:r>
              <a:rPr lang="en-GB" noProof="0"/>
              <a:t>Click on icon to insert picture</a:t>
            </a:r>
          </a:p>
        </p:txBody>
      </p:sp>
      <p:sp>
        <p:nvSpPr>
          <p:cNvPr id="13"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4"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7"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8"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222249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ull image with caption">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615952" y="1604435"/>
            <a:ext cx="10966449" cy="4323755"/>
          </a:xfrm>
          <a:prstGeom prst="rect">
            <a:avLst/>
          </a:prstGeom>
        </p:spPr>
        <p:txBody>
          <a:bodyPr lIns="0" tIns="0" rIns="0" bIns="0"/>
          <a:lstStyle>
            <a:lvl1pPr>
              <a:defRPr sz="1867"/>
            </a:lvl1pPr>
          </a:lstStyle>
          <a:p>
            <a:r>
              <a:rPr lang="en-GB" noProof="0"/>
              <a:t>Click on icon to insert picture</a:t>
            </a:r>
          </a:p>
        </p:txBody>
      </p:sp>
      <p:sp>
        <p:nvSpPr>
          <p:cNvPr id="12" name="Text Placeholder 5"/>
          <p:cNvSpPr>
            <a:spLocks noGrp="1"/>
          </p:cNvSpPr>
          <p:nvPr>
            <p:ph type="body" sz="quarter" idx="16" hasCustomPrompt="1"/>
          </p:nvPr>
        </p:nvSpPr>
        <p:spPr>
          <a:xfrm>
            <a:off x="609600" y="5928188"/>
            <a:ext cx="10972800" cy="480000"/>
          </a:xfrm>
          <a:prstGeom prst="rect">
            <a:avLst/>
          </a:prstGeom>
        </p:spPr>
        <p:txBody>
          <a:bodyPr lIns="0" tIns="72000" rIns="0" bIns="0" anchor="t" anchorCtr="0"/>
          <a:lstStyle>
            <a:lvl1pPr marL="0" indent="0">
              <a:buNone/>
              <a:defRPr lang="en-US" sz="1067" dirty="0" smtClean="0"/>
            </a:lvl1pPr>
            <a:lvl2pPr>
              <a:defRPr lang="en-US" dirty="0" smtClean="0"/>
            </a:lvl2pPr>
            <a:lvl3pPr>
              <a:defRPr lang="en-US" dirty="0" smtClean="0"/>
            </a:lvl3pPr>
            <a:lvl4pPr>
              <a:defRPr lang="en-US" dirty="0" smtClean="0"/>
            </a:lvl4pPr>
            <a:lvl5pPr>
              <a:defRPr lang="en-CA" dirty="0"/>
            </a:lvl5pPr>
          </a:lstStyle>
          <a:p>
            <a:pPr marL="0" indent="0">
              <a:buNone/>
            </a:pPr>
            <a:r>
              <a:rPr lang="en-GB" sz="1067" noProof="0"/>
              <a:t>This is the caption for this image, Arial Regular 8 pt.</a:t>
            </a:r>
          </a:p>
        </p:txBody>
      </p:sp>
      <p:sp>
        <p:nvSpPr>
          <p:cNvPr id="14"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6"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8"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10"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158603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3"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6" name="Footer Placeholder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8" name="Title 1"/>
          <p:cNvSpPr>
            <a:spLocks noGrp="1"/>
          </p:cNvSpPr>
          <p:nvPr>
            <p:ph type="title" hasCustomPrompt="1"/>
          </p:nvPr>
        </p:nvSpPr>
        <p:spPr>
          <a:xfrm>
            <a:off x="606425" y="434710"/>
            <a:ext cx="9668256" cy="783585"/>
          </a:xfrm>
        </p:spPr>
        <p:txBody>
          <a:bodyPr/>
          <a:lstStyle>
            <a:lvl1pPr algn="l" defTabSz="1219139" rtl="0" eaLnBrk="1" latinLnBrk="0" hangingPunct="1">
              <a:lnSpc>
                <a:spcPct val="100000"/>
              </a:lnSpc>
              <a:spcBef>
                <a:spcPct val="0"/>
              </a:spcBef>
              <a:buNone/>
              <a:defRPr lang="en-GB" sz="2400" b="1" kern="1200" baseline="0" noProof="0" dirty="0">
                <a:solidFill>
                  <a:schemeClr val="tx1"/>
                </a:solidFill>
                <a:latin typeface="+mj-lt"/>
                <a:ea typeface="+mj-ea"/>
                <a:cs typeface="+mj-cs"/>
              </a:defRPr>
            </a:lvl1pPr>
          </a:lstStyle>
          <a:p>
            <a:r>
              <a:rPr lang="en-GB" noProof="0"/>
              <a:t>Click to edit Master Title Style</a:t>
            </a:r>
          </a:p>
        </p:txBody>
      </p:sp>
    </p:spTree>
    <p:extLst>
      <p:ext uri="{BB962C8B-B14F-4D97-AF65-F5344CB8AC3E}">
        <p14:creationId xmlns:p14="http://schemas.microsoft.com/office/powerpoint/2010/main" val="240761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11" name="Line 9"/>
          <p:cNvSpPr>
            <a:spLocks noChangeShapeType="1"/>
          </p:cNvSpPr>
          <p:nvPr userDrawn="1"/>
        </p:nvSpPr>
        <p:spPr bwMode="auto">
          <a:xfrm>
            <a:off x="615033" y="6396871"/>
            <a:ext cx="10972800" cy="0"/>
          </a:xfrm>
          <a:prstGeom prst="line">
            <a:avLst/>
          </a:prstGeom>
          <a:noFill/>
          <a:ln w="6350" cmpd="sng">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13"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14"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15"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16" name="TextBox 15"/>
          <p:cNvSpPr txBox="1"/>
          <p:nvPr userDrawn="1"/>
        </p:nvSpPr>
        <p:spPr>
          <a:xfrm>
            <a:off x="618308" y="6582195"/>
            <a:ext cx="2336800" cy="123860"/>
          </a:xfrm>
          <a:prstGeom prst="rect">
            <a:avLst/>
          </a:prstGeom>
        </p:spPr>
        <p:txBody>
          <a:bodyPr vert="horz" wrap="square" lIns="0" tIns="0" rIns="0" bIns="0" rtlCol="0" anchor="b" anchorCtr="0">
            <a:noAutofit/>
          </a:bodyPr>
          <a:lstStyle/>
          <a:p>
            <a:pPr marL="0" marR="0" indent="0" algn="l" defTabSz="1219139" rtl="0" eaLnBrk="1" fontAlgn="auto" latinLnBrk="0" hangingPunct="1">
              <a:lnSpc>
                <a:spcPct val="114000"/>
              </a:lnSpc>
              <a:spcBef>
                <a:spcPts val="0"/>
              </a:spcBef>
              <a:spcAft>
                <a:spcPts val="1067"/>
              </a:spcAft>
              <a:buClrTx/>
              <a:buSzTx/>
              <a:buFont typeface="Wingdings 3" pitchFamily="18" charset="2"/>
              <a:buNone/>
              <a:tabLst/>
            </a:pPr>
            <a:r>
              <a:rPr kumimoji="0" lang="en-GB" sz="800" b="1" i="0" u="none" strike="noStrike" kern="1200" cap="none" spc="0" normalizeH="0" baseline="0" noProof="0">
                <a:ln>
                  <a:noFill/>
                </a:ln>
                <a:solidFill>
                  <a:schemeClr val="tx1"/>
                </a:solidFill>
                <a:effectLst/>
                <a:uLnTx/>
                <a:uFillTx/>
                <a:latin typeface="Arial" pitchFamily="34" charset="0"/>
                <a:ea typeface="+mn-ea"/>
                <a:cs typeface="Arial" pitchFamily="34" charset="0"/>
              </a:rPr>
              <a:t>SES Proprietary and Confidential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flipH="1" flipV="1">
            <a:off x="11035092" y="505288"/>
            <a:ext cx="734032" cy="336000"/>
          </a:xfrm>
          <a:prstGeom prst="rect">
            <a:avLst/>
          </a:prstGeom>
        </p:spPr>
      </p:pic>
    </p:spTree>
    <p:extLst>
      <p:ext uri="{BB962C8B-B14F-4D97-AF65-F5344CB8AC3E}">
        <p14:creationId xmlns:p14="http://schemas.microsoft.com/office/powerpoint/2010/main" val="386753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459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Line 9"/>
          <p:cNvSpPr>
            <a:spLocks noChangeShapeType="1"/>
          </p:cNvSpPr>
          <p:nvPr userDrawn="1"/>
        </p:nvSpPr>
        <p:spPr bwMode="auto">
          <a:xfrm>
            <a:off x="617951" y="3727497"/>
            <a:ext cx="4080000" cy="0"/>
          </a:xfrm>
          <a:prstGeom prst="line">
            <a:avLst/>
          </a:prstGeom>
          <a:noFill/>
          <a:ln w="76200" cmpd="sng">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12" name="Title 1"/>
          <p:cNvSpPr>
            <a:spLocks noGrp="1"/>
          </p:cNvSpPr>
          <p:nvPr>
            <p:ph type="title" hasCustomPrompt="1"/>
          </p:nvPr>
        </p:nvSpPr>
        <p:spPr>
          <a:xfrm>
            <a:off x="621792" y="3918859"/>
            <a:ext cx="4067808" cy="338820"/>
          </a:xfrm>
        </p:spPr>
        <p:txBody>
          <a:bodyPr anchor="t" anchorCtr="0"/>
          <a:lstStyle>
            <a:lvl1pPr>
              <a:defRPr sz="2267" baseline="0">
                <a:solidFill>
                  <a:schemeClr val="bg1"/>
                </a:solidFill>
              </a:defRPr>
            </a:lvl1pPr>
          </a:lstStyle>
          <a:p>
            <a:r>
              <a:rPr lang="en-GB" noProof="0"/>
              <a:t>SECTION TITLE 17PT</a:t>
            </a:r>
          </a:p>
        </p:txBody>
      </p:sp>
      <p:sp>
        <p:nvSpPr>
          <p:cNvPr id="13" name="Subtitle 2"/>
          <p:cNvSpPr>
            <a:spLocks noGrp="1"/>
          </p:cNvSpPr>
          <p:nvPr>
            <p:ph type="subTitle" idx="1" hasCustomPrompt="1"/>
          </p:nvPr>
        </p:nvSpPr>
        <p:spPr>
          <a:xfrm>
            <a:off x="621792" y="4254405"/>
            <a:ext cx="4067808" cy="387264"/>
          </a:xfrm>
          <a:prstGeom prst="rect">
            <a:avLst/>
          </a:prstGeom>
        </p:spPr>
        <p:txBody>
          <a:bodyPr lIns="0" tIns="54000" rIns="0" bIns="0" anchor="t" anchorCtr="0">
            <a:normAutofit/>
          </a:bodyPr>
          <a:lstStyle>
            <a:lvl1pPr marL="0" indent="0" algn="l">
              <a:buNone/>
              <a:defRPr sz="1467" baseline="0">
                <a:solidFill>
                  <a:schemeClr val="bg1"/>
                </a:solidFill>
              </a:defRPr>
            </a:lvl1pPr>
            <a:lvl2pPr marL="609570" indent="0" algn="ctr">
              <a:buNone/>
              <a:defRPr>
                <a:solidFill>
                  <a:schemeClr val="tx1">
                    <a:tint val="75000"/>
                  </a:schemeClr>
                </a:solidFill>
              </a:defRPr>
            </a:lvl2pPr>
            <a:lvl3pPr marL="1219139"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7"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GB" noProof="0"/>
              <a:t>Section Sub-Title 11pt</a:t>
            </a:r>
          </a:p>
        </p:txBody>
      </p:sp>
      <p:sp>
        <p:nvSpPr>
          <p:cNvPr id="23" name="TextBox 22"/>
          <p:cNvSpPr txBox="1"/>
          <p:nvPr userDrawn="1"/>
        </p:nvSpPr>
        <p:spPr>
          <a:xfrm>
            <a:off x="618308" y="6582195"/>
            <a:ext cx="2336800" cy="123860"/>
          </a:xfrm>
          <a:prstGeom prst="rect">
            <a:avLst/>
          </a:prstGeom>
        </p:spPr>
        <p:txBody>
          <a:bodyPr vert="horz" wrap="square" lIns="0" tIns="0" rIns="0" bIns="0" rtlCol="0" anchor="b" anchorCtr="0">
            <a:noAutofit/>
          </a:bodyPr>
          <a:lstStyle/>
          <a:p>
            <a:pPr marL="0" marR="0" indent="0" algn="l" defTabSz="1219139" rtl="0" eaLnBrk="1" fontAlgn="auto" latinLnBrk="0" hangingPunct="1">
              <a:lnSpc>
                <a:spcPct val="114000"/>
              </a:lnSpc>
              <a:spcBef>
                <a:spcPts val="0"/>
              </a:spcBef>
              <a:spcAft>
                <a:spcPts val="1067"/>
              </a:spcAft>
              <a:buClrTx/>
              <a:buSzTx/>
              <a:buFont typeface="Wingdings 3" pitchFamily="18" charset="2"/>
              <a:buNone/>
              <a:tabLst/>
            </a:pPr>
            <a:r>
              <a:rPr kumimoji="0" lang="en-GB" sz="800" b="1" i="0" u="none" strike="noStrike" kern="1200" cap="none" spc="0" normalizeH="0" baseline="0" noProof="0">
                <a:ln>
                  <a:noFill/>
                </a:ln>
                <a:solidFill>
                  <a:schemeClr val="bg1"/>
                </a:solidFill>
                <a:effectLst/>
                <a:uLnTx/>
                <a:uFillTx/>
                <a:latin typeface="Arial" pitchFamily="34" charset="0"/>
                <a:ea typeface="+mn-ea"/>
                <a:cs typeface="Arial" pitchFamily="34" charset="0"/>
              </a:rPr>
              <a:t>SES Proprietary and Confidential</a:t>
            </a:r>
          </a:p>
        </p:txBody>
      </p:sp>
      <p:sp>
        <p:nvSpPr>
          <p:cNvPr id="27"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solidFill>
                  <a:schemeClr val="bg1"/>
                </a:solidFill>
              </a:defRPr>
            </a:lvl1pPr>
          </a:lstStyle>
          <a:p>
            <a:pPr fontAlgn="base">
              <a:spcAft>
                <a:spcPct val="0"/>
              </a:spcAft>
            </a:pPr>
            <a:fld id="{DF5C34F6-00AF-4045-985A-3B429E0AF111}" type="slidenum">
              <a:rPr lang="en-GB" smtClean="0"/>
              <a:pPr fontAlgn="base">
                <a:spcAft>
                  <a:spcPct val="0"/>
                </a:spcAft>
              </a:pPr>
              <a:t>‹#›</a:t>
            </a:fld>
            <a:endParaRPr lang="en-GB"/>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rot="10800000" flipH="1" flipV="1">
            <a:off x="11035093" y="505288"/>
            <a:ext cx="734031" cy="336000"/>
          </a:xfrm>
          <a:prstGeom prst="rect">
            <a:avLst/>
          </a:prstGeom>
        </p:spPr>
      </p:pic>
    </p:spTree>
    <p:extLst>
      <p:ext uri="{BB962C8B-B14F-4D97-AF65-F5344CB8AC3E}">
        <p14:creationId xmlns:p14="http://schemas.microsoft.com/office/powerpoint/2010/main" val="58633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Ending slide/page">
    <p:bg>
      <p:bgPr>
        <a:solidFill>
          <a:schemeClr val="tx1"/>
        </a:solidFill>
        <a:effectLst/>
      </p:bgPr>
    </p:bg>
    <p:spTree>
      <p:nvGrpSpPr>
        <p:cNvPr id="1" name=""/>
        <p:cNvGrpSpPr/>
        <p:nvPr/>
      </p:nvGrpSpPr>
      <p:grpSpPr>
        <a:xfrm>
          <a:off x="0" y="0"/>
          <a:ext cx="0" cy="0"/>
          <a:chOff x="0" y="0"/>
          <a:chExt cx="0" cy="0"/>
        </a:xfrm>
      </p:grpSpPr>
      <p:sp>
        <p:nvSpPr>
          <p:cNvPr id="15" name="Text Placeholder 14"/>
          <p:cNvSpPr>
            <a:spLocks noGrp="1"/>
          </p:cNvSpPr>
          <p:nvPr>
            <p:ph type="body" sz="quarter" idx="10" hasCustomPrompt="1"/>
          </p:nvPr>
        </p:nvSpPr>
        <p:spPr>
          <a:xfrm>
            <a:off x="618308" y="671681"/>
            <a:ext cx="4267200" cy="477438"/>
          </a:xfrm>
          <a:prstGeom prst="rect">
            <a:avLst/>
          </a:prstGeom>
        </p:spPr>
        <p:txBody>
          <a:bodyPr vert="horz" lIns="0" tIns="0" rIns="0" bIns="0">
            <a:spAutoFit/>
          </a:bodyPr>
          <a:lstStyle>
            <a:lvl1pPr marL="0" indent="0">
              <a:lnSpc>
                <a:spcPct val="110000"/>
              </a:lnSpc>
              <a:spcAft>
                <a:spcPts val="0"/>
              </a:spcAft>
              <a:buNone/>
              <a:defRPr sz="1467" baseline="0">
                <a:solidFill>
                  <a:schemeClr val="bg1"/>
                </a:solidFill>
              </a:defRPr>
            </a:lvl1pPr>
            <a:lvl2pPr marL="358683" indent="0">
              <a:buNone/>
              <a:defRPr sz="1600"/>
            </a:lvl2pPr>
            <a:lvl3pPr marL="598670" indent="0">
              <a:buNone/>
              <a:defRPr sz="1600"/>
            </a:lvl3pPr>
            <a:lvl4pPr marL="862657" indent="0">
              <a:buNone/>
              <a:defRPr sz="1600"/>
            </a:lvl4pPr>
            <a:lvl5pPr marL="1104760" indent="0">
              <a:buNone/>
              <a:defRPr sz="1600"/>
            </a:lvl5pPr>
          </a:lstStyle>
          <a:p>
            <a:pPr lvl="0"/>
            <a:r>
              <a:rPr lang="en-GB" noProof="0"/>
              <a:t>Contact Name</a:t>
            </a:r>
          </a:p>
          <a:p>
            <a:pPr lvl="0"/>
            <a:r>
              <a:rPr lang="en-GB" noProof="0"/>
              <a:t>Contact Title</a:t>
            </a:r>
          </a:p>
        </p:txBody>
      </p:sp>
      <p:sp>
        <p:nvSpPr>
          <p:cNvPr id="11" name="TextBox 10"/>
          <p:cNvSpPr txBox="1"/>
          <p:nvPr userDrawn="1"/>
        </p:nvSpPr>
        <p:spPr>
          <a:xfrm>
            <a:off x="618308" y="6582195"/>
            <a:ext cx="2336800" cy="123860"/>
          </a:xfrm>
          <a:prstGeom prst="rect">
            <a:avLst/>
          </a:prstGeom>
        </p:spPr>
        <p:txBody>
          <a:bodyPr vert="horz" wrap="square" lIns="0" tIns="0" rIns="0" bIns="0" rtlCol="0" anchor="b" anchorCtr="0">
            <a:noAutofit/>
          </a:bodyPr>
          <a:lstStyle/>
          <a:p>
            <a:pPr marL="0" marR="0" indent="0" algn="l" defTabSz="1219139" rtl="0" eaLnBrk="1" fontAlgn="auto" latinLnBrk="0" hangingPunct="1">
              <a:lnSpc>
                <a:spcPct val="114000"/>
              </a:lnSpc>
              <a:spcBef>
                <a:spcPts val="0"/>
              </a:spcBef>
              <a:spcAft>
                <a:spcPts val="1067"/>
              </a:spcAft>
              <a:buClrTx/>
              <a:buSzTx/>
              <a:buFont typeface="Wingdings 3" pitchFamily="18" charset="2"/>
              <a:buNone/>
              <a:tabLst/>
            </a:pPr>
            <a:r>
              <a:rPr kumimoji="0" lang="en-GB" sz="800" b="1" i="0" u="none" strike="noStrike" kern="1200" cap="none" spc="0" normalizeH="0" baseline="0" noProof="0">
                <a:ln>
                  <a:noFill/>
                </a:ln>
                <a:solidFill>
                  <a:schemeClr val="bg1"/>
                </a:solidFill>
                <a:effectLst/>
                <a:uLnTx/>
                <a:uFillTx/>
                <a:latin typeface="Arial" pitchFamily="34" charset="0"/>
                <a:ea typeface="+mn-ea"/>
                <a:cs typeface="Arial" pitchFamily="34" charset="0"/>
              </a:rPr>
              <a:t>SES Proprietary and Confidential</a:t>
            </a:r>
          </a:p>
        </p:txBody>
      </p:sp>
      <p:sp>
        <p:nvSpPr>
          <p:cNvPr id="16"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bg1"/>
                </a:solidFill>
              </a:defRPr>
            </a:lvl1pPr>
          </a:lstStyle>
          <a:p>
            <a:endParaRPr lang="en-GB"/>
          </a:p>
        </p:txBody>
      </p:sp>
      <p:sp>
        <p:nvSpPr>
          <p:cNvPr id="17"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sp>
        <p:nvSpPr>
          <p:cNvPr id="19" name="Text Placeholder 14"/>
          <p:cNvSpPr>
            <a:spLocks noGrp="1"/>
          </p:cNvSpPr>
          <p:nvPr>
            <p:ph type="body" sz="quarter" idx="11" hasCustomPrompt="1"/>
          </p:nvPr>
        </p:nvSpPr>
        <p:spPr>
          <a:xfrm>
            <a:off x="618308" y="1478131"/>
            <a:ext cx="4267200" cy="744819"/>
          </a:xfrm>
          <a:prstGeom prst="rect">
            <a:avLst/>
          </a:prstGeom>
        </p:spPr>
        <p:txBody>
          <a:bodyPr vert="horz" lIns="0" tIns="0" rIns="0" bIns="0">
            <a:spAutoFit/>
          </a:bodyPr>
          <a:lstStyle>
            <a:lvl1pPr marL="0" indent="0">
              <a:lnSpc>
                <a:spcPct val="110000"/>
              </a:lnSpc>
              <a:spcAft>
                <a:spcPts val="0"/>
              </a:spcAft>
              <a:buNone/>
              <a:defRPr sz="1467" baseline="0">
                <a:solidFill>
                  <a:schemeClr val="bg1"/>
                </a:solidFill>
              </a:defRPr>
            </a:lvl1pPr>
            <a:lvl2pPr marL="358683" indent="0">
              <a:buNone/>
              <a:defRPr sz="1600"/>
            </a:lvl2pPr>
            <a:lvl3pPr marL="598670" indent="0">
              <a:buNone/>
              <a:defRPr sz="1600"/>
            </a:lvl3pPr>
            <a:lvl4pPr marL="862657" indent="0">
              <a:buNone/>
              <a:defRPr sz="1600"/>
            </a:lvl4pPr>
            <a:lvl5pPr marL="1104760" indent="0">
              <a:buNone/>
              <a:defRPr sz="1600"/>
            </a:lvl5pPr>
          </a:lstStyle>
          <a:p>
            <a:pPr lvl="0"/>
            <a:r>
              <a:rPr lang="en-GB" noProof="0"/>
              <a:t>Contact email address</a:t>
            </a:r>
          </a:p>
          <a:p>
            <a:pPr lvl="0"/>
            <a:r>
              <a:rPr lang="en-GB" noProof="0"/>
              <a:t>T +000 000 000</a:t>
            </a:r>
          </a:p>
          <a:p>
            <a:pPr lvl="0"/>
            <a:r>
              <a:rPr lang="en-GB" noProof="0"/>
              <a:t>M +000 000 000</a:t>
            </a:r>
          </a:p>
        </p:txBody>
      </p:sp>
      <p:sp>
        <p:nvSpPr>
          <p:cNvPr id="20" name="Line 9"/>
          <p:cNvSpPr>
            <a:spLocks noChangeShapeType="1"/>
          </p:cNvSpPr>
          <p:nvPr userDrawn="1"/>
        </p:nvSpPr>
        <p:spPr bwMode="auto">
          <a:xfrm>
            <a:off x="617951" y="5589700"/>
            <a:ext cx="4080000" cy="0"/>
          </a:xfrm>
          <a:prstGeom prst="line">
            <a:avLst/>
          </a:prstGeom>
          <a:noFill/>
          <a:ln w="76200" cmpd="sng">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flipH="1" flipV="1">
            <a:off x="10629769" y="603254"/>
            <a:ext cx="958985" cy="671964"/>
          </a:xfrm>
          <a:prstGeom prst="rect">
            <a:avLst/>
          </a:prstGeom>
        </p:spPr>
      </p:pic>
    </p:spTree>
    <p:extLst>
      <p:ext uri="{BB962C8B-B14F-4D97-AF65-F5344CB8AC3E}">
        <p14:creationId xmlns:p14="http://schemas.microsoft.com/office/powerpoint/2010/main" val="250921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609600" y="914402"/>
            <a:ext cx="5334000" cy="963298"/>
          </a:xfrm>
        </p:spPr>
        <p:txBody>
          <a:bodyPr/>
          <a:lstStyle>
            <a:lvl1pPr>
              <a:defRPr/>
            </a:lvl1pPr>
          </a:lstStyle>
          <a:p>
            <a:r>
              <a:rPr lang="en-US"/>
              <a:t>Title, content, and imag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71701"/>
            <a:ext cx="5334000" cy="1405888"/>
          </a:xfrm>
        </p:spPr>
        <p:txBody>
          <a:bodyPr/>
          <a:lstStyle>
            <a:lvl1pPr marL="0" indent="0">
              <a:spcAft>
                <a:spcPts val="1800"/>
              </a:spcAft>
              <a:buNone/>
              <a:defRPr sz="2400"/>
            </a:lvl1pPr>
            <a:lvl2pPr marL="285728" indent="0">
              <a:spcAft>
                <a:spcPts val="1800"/>
              </a:spcAft>
              <a:buNone/>
              <a:defRPr sz="2000"/>
            </a:lvl2pPr>
            <a:lvl3pPr marL="628600" indent="0">
              <a:spcAft>
                <a:spcPts val="1800"/>
              </a:spcAft>
              <a:buNone/>
              <a:defRPr sz="1800"/>
            </a:lvl3pPr>
            <a:lvl4pPr marL="914327" indent="0">
              <a:spcAft>
                <a:spcPts val="1800"/>
              </a:spcAft>
              <a:buNone/>
              <a:defRPr sz="1600"/>
            </a:lvl4pPr>
            <a:lvl5pPr marL="1142908" indent="0">
              <a:spcAft>
                <a:spcPts val="1800"/>
              </a:spcAft>
              <a:buNone/>
              <a:defRPr sz="1600"/>
            </a:lvl5pPr>
          </a:lstStyle>
          <a:p>
            <a:pPr lvl="0"/>
            <a:r>
              <a:rPr lang="en-US"/>
              <a:t>Enter text</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F3B2582F-3FE9-42AC-8572-5C27E1A8E55F}"/>
              </a:ext>
            </a:extLst>
          </p:cNvPr>
          <p:cNvSpPr>
            <a:spLocks noGrp="1"/>
          </p:cNvSpPr>
          <p:nvPr>
            <p:ph type="pic" sz="quarter" idx="10" hasCustomPrompt="1"/>
          </p:nvPr>
        </p:nvSpPr>
        <p:spPr>
          <a:xfrm>
            <a:off x="6248400" y="0"/>
            <a:ext cx="5943600" cy="6858000"/>
          </a:xfrm>
        </p:spPr>
        <p:txBody>
          <a:bodyPr anchor="ctr">
            <a:noAutofit/>
          </a:bodyPr>
          <a:lstStyle>
            <a:lvl1pPr marL="0" indent="0" algn="ctr">
              <a:buNone/>
              <a:defRPr/>
            </a:lvl1pPr>
          </a:lstStyle>
          <a:p>
            <a:r>
              <a:rPr lang="en-US"/>
              <a:t>Click (or paste) to insert picture</a:t>
            </a:r>
          </a:p>
        </p:txBody>
      </p:sp>
      <p:sp>
        <p:nvSpPr>
          <p:cNvPr id="7" name="Slide Number Placeholder 6">
            <a:extLst>
              <a:ext uri="{FF2B5EF4-FFF2-40B4-BE49-F238E27FC236}">
                <a16:creationId xmlns:a16="http://schemas.microsoft.com/office/drawing/2014/main" id="{E1C972F2-75D0-4C1D-B2C9-D4DDBBA7EBAC}"/>
              </a:ext>
            </a:extLst>
          </p:cNvPr>
          <p:cNvSpPr>
            <a:spLocks noGrp="1"/>
          </p:cNvSpPr>
          <p:nvPr>
            <p:ph type="sldNum" sz="quarter" idx="13"/>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35343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1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p:bg>
      <p:bgPr>
        <a:gradFill flip="none" rotWithShape="1">
          <a:gsLst>
            <a:gs pos="60000">
              <a:srgbClr val="5C4395"/>
            </a:gs>
            <a:gs pos="0">
              <a:schemeClr val="accent1"/>
            </a:gs>
            <a:gs pos="100000">
              <a:schemeClr val="accent4"/>
            </a:gs>
          </a:gsLst>
          <a:lin ang="0" scaled="1"/>
          <a:tileRect/>
        </a:gra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B299D44-D1D5-4C6F-6435-21C9115EFC00}"/>
              </a:ext>
            </a:extLst>
          </p:cNvPr>
          <p:cNvPicPr>
            <a:picLocks noChangeAspect="1"/>
          </p:cNvPicPr>
          <p:nvPr/>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7299076" cy="1809750"/>
          </a:xfrm>
        </p:spPr>
        <p:txBody>
          <a:bodyPr anchor="b"/>
          <a:lstStyle>
            <a:lvl1pPr algn="l">
              <a:lnSpc>
                <a:spcPct val="80000"/>
              </a:lnSpc>
              <a:defRPr sz="6600">
                <a:solidFill>
                  <a:schemeClr val="tx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tx1"/>
                </a:solidFill>
              </a:defRPr>
            </a:lvl1pPr>
            <a:lvl2pPr marL="0" indent="0">
              <a:lnSpc>
                <a:spcPct val="100000"/>
              </a:lnSpc>
              <a:spcBef>
                <a:spcPts val="0"/>
              </a:spcBef>
              <a:tabLst/>
              <a:defRPr sz="1300" b="1"/>
            </a:lvl2pPr>
            <a:lvl3pPr marL="0" indent="0">
              <a:spcBef>
                <a:spcPts val="0"/>
              </a:spcBef>
              <a:buNone/>
              <a:defRPr sz="1300" b="1"/>
            </a:lvl3pPr>
          </a:lstStyle>
          <a:p>
            <a:pPr lvl="0"/>
            <a:r>
              <a:rPr lang="en-GB" dirty="0"/>
              <a:t>Presented by:</a:t>
            </a:r>
          </a:p>
          <a:p>
            <a:pPr lvl="1"/>
            <a:r>
              <a:rPr lang="en-GB" dirty="0"/>
              <a:t>First Name Last Name</a:t>
            </a:r>
          </a:p>
          <a:p>
            <a:pPr lvl="2"/>
            <a:r>
              <a:rPr lang="en-GB" dirty="0"/>
              <a:t>Job Title</a:t>
            </a:r>
          </a:p>
        </p:txBody>
      </p:sp>
      <p:sp>
        <p:nvSpPr>
          <p:cNvPr id="17" name="TextBox 16">
            <a:extLst>
              <a:ext uri="{FF2B5EF4-FFF2-40B4-BE49-F238E27FC236}">
                <a16:creationId xmlns:a16="http://schemas.microsoft.com/office/drawing/2014/main" id="{6AA2F6A9-C581-FCC2-26C7-065F83E15DB5}"/>
              </a:ext>
            </a:extLst>
          </p:cNvPr>
          <p:cNvSpPr txBox="1"/>
          <p:nvPr/>
        </p:nvSpPr>
        <p:spPr>
          <a:xfrm>
            <a:off x="545524" y="-338593"/>
            <a:ext cx="1305101"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sion 1</a:t>
            </a:r>
          </a:p>
        </p:txBody>
      </p:sp>
      <p:cxnSp>
        <p:nvCxnSpPr>
          <p:cNvPr id="18" name="Straight Connector 17">
            <a:extLst>
              <a:ext uri="{FF2B5EF4-FFF2-40B4-BE49-F238E27FC236}">
                <a16:creationId xmlns:a16="http://schemas.microsoft.com/office/drawing/2014/main" id="{4F7A4F5E-CAAE-AFFF-987F-F70C4073B55B}"/>
              </a:ext>
            </a:extLst>
          </p:cNvPr>
          <p:cNvCxnSpPr>
            <a:cxnSpLocks/>
          </p:cNvCxnSpPr>
          <p:nvPr/>
        </p:nvCxnSpPr>
        <p:spPr>
          <a:xfrm flipH="1">
            <a:off x="-828000" y="17028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04BC94B-0624-9DB2-966D-FFE9DB4D845F}"/>
              </a:ext>
            </a:extLst>
          </p:cNvPr>
          <p:cNvCxnSpPr>
            <a:cxnSpLocks/>
          </p:cNvCxnSpPr>
          <p:nvPr/>
        </p:nvCxnSpPr>
        <p:spPr>
          <a:xfrm flipH="1">
            <a:off x="-828000" y="62316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AC971097-23C0-33EA-8017-E5EA700DDE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456" y="138112"/>
            <a:ext cx="3042092" cy="1170432"/>
          </a:xfrm>
          <a:prstGeom prst="rect">
            <a:avLst/>
          </a:prstGeom>
        </p:spPr>
      </p:pic>
    </p:spTree>
    <p:extLst>
      <p:ext uri="{BB962C8B-B14F-4D97-AF65-F5344CB8AC3E}">
        <p14:creationId xmlns:p14="http://schemas.microsoft.com/office/powerpoint/2010/main" val="173994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Slide - Corporate - 2">
    <p:bg>
      <p:bgPr>
        <a:gradFill flip="none" rotWithShape="1">
          <a:gsLst>
            <a:gs pos="60000">
              <a:srgbClr val="5C4395"/>
            </a:gs>
            <a:gs pos="0">
              <a:schemeClr val="accent1"/>
            </a:gs>
            <a:gs pos="100000">
              <a:schemeClr val="accent4"/>
            </a:gs>
          </a:gsLst>
          <a:lin ang="0" scaled="1"/>
          <a:tileRect/>
        </a:gra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B299D44-D1D5-4C6F-6435-21C9115EFC00}"/>
              </a:ext>
            </a:extLst>
          </p:cNvPr>
          <p:cNvPicPr>
            <a:picLocks noChangeAspect="1"/>
          </p:cNvPicPr>
          <p:nvPr/>
        </p:nvPicPr>
        <p:blipFill>
          <a:blip r:embed="rId2">
            <a:extLst>
              <a:ext uri="{96DAC541-7B7A-43D3-8B79-37D633B846F1}">
                <asvg:svgBlip xmlns:asvg="http://schemas.microsoft.com/office/drawing/2016/SVG/main" r:embed="rId3"/>
              </a:ext>
            </a:extLst>
          </a:blip>
          <a:srcRect l="2396" t="2396"/>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7299076" cy="1809750"/>
          </a:xfrm>
        </p:spPr>
        <p:txBody>
          <a:bodyPr anchor="b"/>
          <a:lstStyle>
            <a:lvl1pPr algn="l">
              <a:lnSpc>
                <a:spcPct val="80000"/>
              </a:lnSpc>
              <a:defRPr sz="6600">
                <a:solidFill>
                  <a:schemeClr val="tx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tx1"/>
                </a:solidFill>
              </a:defRPr>
            </a:lvl1pPr>
            <a:lvl2pPr marL="0" indent="0">
              <a:lnSpc>
                <a:spcPct val="100000"/>
              </a:lnSpc>
              <a:spcBef>
                <a:spcPts val="0"/>
              </a:spcBef>
              <a:tabLst/>
              <a:defRPr sz="1300" b="1"/>
            </a:lvl2pPr>
            <a:lvl3pPr marL="0" indent="0">
              <a:spcBef>
                <a:spcPts val="0"/>
              </a:spcBef>
              <a:buNone/>
              <a:defRPr sz="1300" b="1"/>
            </a:lvl3pPr>
          </a:lstStyle>
          <a:p>
            <a:pPr lvl="0"/>
            <a:r>
              <a:rPr lang="en-GB" dirty="0"/>
              <a:t>Presented by:</a:t>
            </a:r>
          </a:p>
          <a:p>
            <a:pPr lvl="1"/>
            <a:r>
              <a:rPr lang="en-GB" dirty="0"/>
              <a:t>First Name Last Name</a:t>
            </a:r>
          </a:p>
          <a:p>
            <a:pPr lvl="2"/>
            <a:r>
              <a:rPr lang="en-GB" dirty="0"/>
              <a:t>Job Title</a:t>
            </a:r>
          </a:p>
        </p:txBody>
      </p:sp>
      <p:sp>
        <p:nvSpPr>
          <p:cNvPr id="3" name="TextBox 2">
            <a:extLst>
              <a:ext uri="{FF2B5EF4-FFF2-40B4-BE49-F238E27FC236}">
                <a16:creationId xmlns:a16="http://schemas.microsoft.com/office/drawing/2014/main" id="{B0BED18B-390B-DD76-C16F-3B3E685D1191}"/>
              </a:ext>
            </a:extLst>
          </p:cNvPr>
          <p:cNvSpPr txBox="1"/>
          <p:nvPr/>
        </p:nvSpPr>
        <p:spPr>
          <a:xfrm>
            <a:off x="545524" y="-338593"/>
            <a:ext cx="1305101"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sion 2</a:t>
            </a:r>
          </a:p>
        </p:txBody>
      </p:sp>
      <p:cxnSp>
        <p:nvCxnSpPr>
          <p:cNvPr id="4" name="Straight Connector 3">
            <a:extLst>
              <a:ext uri="{FF2B5EF4-FFF2-40B4-BE49-F238E27FC236}">
                <a16:creationId xmlns:a16="http://schemas.microsoft.com/office/drawing/2014/main" id="{A245ED0A-9C7F-BD3E-01C7-0A96B0DF3BF7}"/>
              </a:ext>
            </a:extLst>
          </p:cNvPr>
          <p:cNvCxnSpPr>
            <a:cxnSpLocks/>
          </p:cNvCxnSpPr>
          <p:nvPr/>
        </p:nvCxnSpPr>
        <p:spPr>
          <a:xfrm flipH="1">
            <a:off x="-828000" y="17028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F0823124-6DEC-6723-17E8-93D5EE2938C0}"/>
              </a:ext>
            </a:extLst>
          </p:cNvPr>
          <p:cNvCxnSpPr>
            <a:cxnSpLocks/>
          </p:cNvCxnSpPr>
          <p:nvPr/>
        </p:nvCxnSpPr>
        <p:spPr>
          <a:xfrm flipH="1">
            <a:off x="-828000" y="62316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A48FD711-7F0C-5837-6BA9-4006629650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456" y="138112"/>
            <a:ext cx="3042092" cy="1170432"/>
          </a:xfrm>
          <a:prstGeom prst="rect">
            <a:avLst/>
          </a:prstGeom>
        </p:spPr>
      </p:pic>
    </p:spTree>
    <p:extLst>
      <p:ext uri="{BB962C8B-B14F-4D97-AF65-F5344CB8AC3E}">
        <p14:creationId xmlns:p14="http://schemas.microsoft.com/office/powerpoint/2010/main" val="4038561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Title Slide - Defense - Land">
    <p:bg>
      <p:bgRef idx="1002">
        <a:schemeClr val="bg2"/>
      </p:bgRef>
    </p:bg>
    <p:spTree>
      <p:nvGrpSpPr>
        <p:cNvPr id="1" name=""/>
        <p:cNvGrpSpPr/>
        <p:nvPr/>
      </p:nvGrpSpPr>
      <p:grpSpPr>
        <a:xfrm>
          <a:off x="0" y="0"/>
          <a:ext cx="0" cy="0"/>
          <a:chOff x="0" y="0"/>
          <a:chExt cx="0" cy="0"/>
        </a:xfrm>
      </p:grpSpPr>
      <p:pic>
        <p:nvPicPr>
          <p:cNvPr id="8" name="Picture 15">
            <a:extLst>
              <a:ext uri="{FF2B5EF4-FFF2-40B4-BE49-F238E27FC236}">
                <a16:creationId xmlns:a16="http://schemas.microsoft.com/office/drawing/2014/main" id="{793F1D29-F2FC-2601-44BF-EEA9531F6C27}"/>
              </a:ext>
            </a:extLst>
          </p:cNvPr>
          <p:cNvPicPr>
            <a:picLocks noChangeAspect="1"/>
          </p:cNvPicPr>
          <p:nvPr/>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6168297" cy="1809750"/>
          </a:xfrm>
        </p:spPr>
        <p:txBody>
          <a:bodyPr anchor="b"/>
          <a:lstStyle>
            <a:lvl1pPr algn="l">
              <a:lnSpc>
                <a:spcPct val="80000"/>
              </a:lnSpc>
              <a:defRPr sz="6000">
                <a:solidFill>
                  <a:schemeClr val="bg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solidFill>
                  <a:schemeClr val="bg1"/>
                </a:solidFill>
              </a:defRPr>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bg1"/>
                </a:solidFill>
              </a:defRPr>
            </a:lvl1pPr>
            <a:lvl2pPr marL="0" indent="0">
              <a:lnSpc>
                <a:spcPct val="100000"/>
              </a:lnSpc>
              <a:spcBef>
                <a:spcPts val="0"/>
              </a:spcBef>
              <a:tabLst/>
              <a:defRPr sz="1300" b="1">
                <a:solidFill>
                  <a:schemeClr val="bg1"/>
                </a:solidFill>
              </a:defRPr>
            </a:lvl2pPr>
            <a:lvl3pPr marL="0" indent="0">
              <a:spcBef>
                <a:spcPts val="0"/>
              </a:spcBef>
              <a:buNone/>
              <a:defRPr sz="1300" b="1">
                <a:solidFill>
                  <a:schemeClr val="bg1"/>
                </a:solidFill>
              </a:defRPr>
            </a:lvl3pPr>
          </a:lstStyle>
          <a:p>
            <a:pPr lvl="0"/>
            <a:r>
              <a:rPr lang="en-GB" dirty="0"/>
              <a:t>Presented by:</a:t>
            </a:r>
          </a:p>
          <a:p>
            <a:pPr lvl="1"/>
            <a:r>
              <a:rPr lang="en-GB" dirty="0"/>
              <a:t>First Name Last Name</a:t>
            </a:r>
          </a:p>
          <a:p>
            <a:pPr lvl="2"/>
            <a:r>
              <a:rPr lang="en-GB" dirty="0"/>
              <a:t>Job Title</a:t>
            </a:r>
          </a:p>
        </p:txBody>
      </p:sp>
      <p:sp>
        <p:nvSpPr>
          <p:cNvPr id="3" name="TextBox 2">
            <a:extLst>
              <a:ext uri="{FF2B5EF4-FFF2-40B4-BE49-F238E27FC236}">
                <a16:creationId xmlns:a16="http://schemas.microsoft.com/office/drawing/2014/main" id="{C9B0D220-7A6D-84B1-28D7-CC53F657DBFC}"/>
              </a:ext>
            </a:extLst>
          </p:cNvPr>
          <p:cNvSpPr txBox="1"/>
          <p:nvPr/>
        </p:nvSpPr>
        <p:spPr>
          <a:xfrm>
            <a:off x="545524" y="-338593"/>
            <a:ext cx="2586862"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tical – aviation – version 1</a:t>
            </a:r>
          </a:p>
        </p:txBody>
      </p:sp>
      <p:pic>
        <p:nvPicPr>
          <p:cNvPr id="11" name="Graphic 10">
            <a:extLst>
              <a:ext uri="{FF2B5EF4-FFF2-40B4-BE49-F238E27FC236}">
                <a16:creationId xmlns:a16="http://schemas.microsoft.com/office/drawing/2014/main" id="{D1E51F68-CC3E-D329-376C-D646EE2CF9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456" y="138112"/>
            <a:ext cx="3042092" cy="1170432"/>
          </a:xfrm>
          <a:prstGeom prst="rect">
            <a:avLst/>
          </a:prstGeom>
        </p:spPr>
      </p:pic>
      <p:pic>
        <p:nvPicPr>
          <p:cNvPr id="5" name="Picture 4">
            <a:extLst>
              <a:ext uri="{FF2B5EF4-FFF2-40B4-BE49-F238E27FC236}">
                <a16:creationId xmlns:a16="http://schemas.microsoft.com/office/drawing/2014/main" id="{B25D3EF6-A616-9D6A-1D0C-0D32128C71D9}"/>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4793425" y="1116174"/>
            <a:ext cx="7398575" cy="5276850"/>
          </a:xfrm>
          <a:prstGeom prst="rect">
            <a:avLst/>
          </a:prstGeom>
        </p:spPr>
      </p:pic>
    </p:spTree>
    <p:extLst>
      <p:ext uri="{BB962C8B-B14F-4D97-AF65-F5344CB8AC3E}">
        <p14:creationId xmlns:p14="http://schemas.microsoft.com/office/powerpoint/2010/main" val="3710214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_Title Slide - Defense - Aero">
    <p:bg>
      <p:bgRef idx="1002">
        <a:schemeClr val="bg2"/>
      </p:bgRef>
    </p:bg>
    <p:spTree>
      <p:nvGrpSpPr>
        <p:cNvPr id="1" name=""/>
        <p:cNvGrpSpPr/>
        <p:nvPr/>
      </p:nvGrpSpPr>
      <p:grpSpPr>
        <a:xfrm>
          <a:off x="0" y="0"/>
          <a:ext cx="0" cy="0"/>
          <a:chOff x="0" y="0"/>
          <a:chExt cx="0" cy="0"/>
        </a:xfrm>
      </p:grpSpPr>
      <p:pic>
        <p:nvPicPr>
          <p:cNvPr id="8" name="Picture 15">
            <a:extLst>
              <a:ext uri="{FF2B5EF4-FFF2-40B4-BE49-F238E27FC236}">
                <a16:creationId xmlns:a16="http://schemas.microsoft.com/office/drawing/2014/main" id="{793F1D29-F2FC-2601-44BF-EEA9531F6C27}"/>
              </a:ext>
            </a:extLst>
          </p:cNvPr>
          <p:cNvPicPr>
            <a:picLocks noChangeAspect="1"/>
          </p:cNvPicPr>
          <p:nvPr/>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6168297" cy="1809750"/>
          </a:xfrm>
        </p:spPr>
        <p:txBody>
          <a:bodyPr anchor="b"/>
          <a:lstStyle>
            <a:lvl1pPr algn="l">
              <a:lnSpc>
                <a:spcPct val="80000"/>
              </a:lnSpc>
              <a:defRPr sz="6000">
                <a:solidFill>
                  <a:schemeClr val="bg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solidFill>
                  <a:schemeClr val="bg1"/>
                </a:solidFill>
              </a:defRPr>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bg1"/>
                </a:solidFill>
              </a:defRPr>
            </a:lvl1pPr>
            <a:lvl2pPr marL="0" indent="0">
              <a:lnSpc>
                <a:spcPct val="100000"/>
              </a:lnSpc>
              <a:spcBef>
                <a:spcPts val="0"/>
              </a:spcBef>
              <a:tabLst/>
              <a:defRPr sz="1300" b="1">
                <a:solidFill>
                  <a:schemeClr val="bg1"/>
                </a:solidFill>
              </a:defRPr>
            </a:lvl2pPr>
            <a:lvl3pPr marL="0" indent="0">
              <a:spcBef>
                <a:spcPts val="0"/>
              </a:spcBef>
              <a:buNone/>
              <a:defRPr sz="1300" b="1">
                <a:solidFill>
                  <a:schemeClr val="bg1"/>
                </a:solidFill>
              </a:defRPr>
            </a:lvl3pPr>
          </a:lstStyle>
          <a:p>
            <a:pPr lvl="0"/>
            <a:r>
              <a:rPr lang="en-GB" dirty="0"/>
              <a:t>Presented by:</a:t>
            </a:r>
          </a:p>
          <a:p>
            <a:pPr lvl="1"/>
            <a:r>
              <a:rPr lang="en-GB" dirty="0"/>
              <a:t>First Name Last Name</a:t>
            </a:r>
          </a:p>
          <a:p>
            <a:pPr lvl="2"/>
            <a:r>
              <a:rPr lang="en-GB" dirty="0"/>
              <a:t>Job Title</a:t>
            </a:r>
          </a:p>
        </p:txBody>
      </p:sp>
      <p:sp>
        <p:nvSpPr>
          <p:cNvPr id="3" name="TextBox 2">
            <a:extLst>
              <a:ext uri="{FF2B5EF4-FFF2-40B4-BE49-F238E27FC236}">
                <a16:creationId xmlns:a16="http://schemas.microsoft.com/office/drawing/2014/main" id="{C9B0D220-7A6D-84B1-28D7-CC53F657DBFC}"/>
              </a:ext>
            </a:extLst>
          </p:cNvPr>
          <p:cNvSpPr txBox="1"/>
          <p:nvPr/>
        </p:nvSpPr>
        <p:spPr>
          <a:xfrm>
            <a:off x="545524" y="-338593"/>
            <a:ext cx="2586862"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tical – aviation – version 1</a:t>
            </a:r>
          </a:p>
        </p:txBody>
      </p:sp>
      <p:pic>
        <p:nvPicPr>
          <p:cNvPr id="11" name="Graphic 10">
            <a:extLst>
              <a:ext uri="{FF2B5EF4-FFF2-40B4-BE49-F238E27FC236}">
                <a16:creationId xmlns:a16="http://schemas.microsoft.com/office/drawing/2014/main" id="{D1E51F68-CC3E-D329-376C-D646EE2CF9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456" y="138112"/>
            <a:ext cx="3042092" cy="1170432"/>
          </a:xfrm>
          <a:prstGeom prst="rect">
            <a:avLst/>
          </a:prstGeom>
        </p:spPr>
      </p:pic>
      <p:pic>
        <p:nvPicPr>
          <p:cNvPr id="5" name="Picture 4">
            <a:extLst>
              <a:ext uri="{FF2B5EF4-FFF2-40B4-BE49-F238E27FC236}">
                <a16:creationId xmlns:a16="http://schemas.microsoft.com/office/drawing/2014/main" id="{7E02B27A-BBCF-522C-C008-95BA20CB226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911678" y="2546164"/>
            <a:ext cx="9382833" cy="3005113"/>
          </a:xfrm>
          <a:prstGeom prst="rect">
            <a:avLst/>
          </a:prstGeom>
        </p:spPr>
      </p:pic>
    </p:spTree>
    <p:extLst>
      <p:ext uri="{BB962C8B-B14F-4D97-AF65-F5344CB8AC3E}">
        <p14:creationId xmlns:p14="http://schemas.microsoft.com/office/powerpoint/2010/main" val="292573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Title Slide - Defense - Sea">
    <p:bg>
      <p:bgRef idx="1002">
        <a:schemeClr val="bg2"/>
      </p:bgRef>
    </p:bg>
    <p:spTree>
      <p:nvGrpSpPr>
        <p:cNvPr id="1" name=""/>
        <p:cNvGrpSpPr/>
        <p:nvPr/>
      </p:nvGrpSpPr>
      <p:grpSpPr>
        <a:xfrm>
          <a:off x="0" y="0"/>
          <a:ext cx="0" cy="0"/>
          <a:chOff x="0" y="0"/>
          <a:chExt cx="0" cy="0"/>
        </a:xfrm>
      </p:grpSpPr>
      <p:pic>
        <p:nvPicPr>
          <p:cNvPr id="8" name="Picture 15">
            <a:extLst>
              <a:ext uri="{FF2B5EF4-FFF2-40B4-BE49-F238E27FC236}">
                <a16:creationId xmlns:a16="http://schemas.microsoft.com/office/drawing/2014/main" id="{793F1D29-F2FC-2601-44BF-EEA9531F6C27}"/>
              </a:ext>
            </a:extLst>
          </p:cNvPr>
          <p:cNvPicPr>
            <a:picLocks noChangeAspect="1"/>
          </p:cNvPicPr>
          <p:nvPr/>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6168297" cy="1809750"/>
          </a:xfrm>
        </p:spPr>
        <p:txBody>
          <a:bodyPr anchor="b"/>
          <a:lstStyle>
            <a:lvl1pPr algn="l">
              <a:lnSpc>
                <a:spcPct val="80000"/>
              </a:lnSpc>
              <a:defRPr sz="6000">
                <a:solidFill>
                  <a:schemeClr val="bg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solidFill>
                  <a:schemeClr val="bg1"/>
                </a:solidFill>
              </a:defRPr>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bg1"/>
                </a:solidFill>
              </a:defRPr>
            </a:lvl1pPr>
            <a:lvl2pPr marL="0" indent="0">
              <a:lnSpc>
                <a:spcPct val="100000"/>
              </a:lnSpc>
              <a:spcBef>
                <a:spcPts val="0"/>
              </a:spcBef>
              <a:tabLst/>
              <a:defRPr sz="1300" b="1">
                <a:solidFill>
                  <a:schemeClr val="bg1"/>
                </a:solidFill>
              </a:defRPr>
            </a:lvl2pPr>
            <a:lvl3pPr marL="0" indent="0">
              <a:spcBef>
                <a:spcPts val="0"/>
              </a:spcBef>
              <a:buNone/>
              <a:defRPr sz="1300" b="1">
                <a:solidFill>
                  <a:schemeClr val="bg1"/>
                </a:solidFill>
              </a:defRPr>
            </a:lvl3pPr>
          </a:lstStyle>
          <a:p>
            <a:pPr lvl="0"/>
            <a:r>
              <a:rPr lang="en-GB" dirty="0"/>
              <a:t>Presented by:</a:t>
            </a:r>
          </a:p>
          <a:p>
            <a:pPr lvl="1"/>
            <a:r>
              <a:rPr lang="en-GB" dirty="0"/>
              <a:t>First Name Last Name</a:t>
            </a:r>
          </a:p>
          <a:p>
            <a:pPr lvl="2"/>
            <a:r>
              <a:rPr lang="en-GB" dirty="0"/>
              <a:t>Job Title</a:t>
            </a:r>
          </a:p>
        </p:txBody>
      </p:sp>
      <p:sp>
        <p:nvSpPr>
          <p:cNvPr id="3" name="TextBox 2">
            <a:extLst>
              <a:ext uri="{FF2B5EF4-FFF2-40B4-BE49-F238E27FC236}">
                <a16:creationId xmlns:a16="http://schemas.microsoft.com/office/drawing/2014/main" id="{C9B0D220-7A6D-84B1-28D7-CC53F657DBFC}"/>
              </a:ext>
            </a:extLst>
          </p:cNvPr>
          <p:cNvSpPr txBox="1"/>
          <p:nvPr/>
        </p:nvSpPr>
        <p:spPr>
          <a:xfrm>
            <a:off x="545524" y="-338593"/>
            <a:ext cx="2586862"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tical – aviation – version 1</a:t>
            </a:r>
          </a:p>
        </p:txBody>
      </p:sp>
      <p:pic>
        <p:nvPicPr>
          <p:cNvPr id="11" name="Graphic 10">
            <a:extLst>
              <a:ext uri="{FF2B5EF4-FFF2-40B4-BE49-F238E27FC236}">
                <a16:creationId xmlns:a16="http://schemas.microsoft.com/office/drawing/2014/main" id="{D1E51F68-CC3E-D329-376C-D646EE2CF9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456" y="138112"/>
            <a:ext cx="3042092" cy="1170432"/>
          </a:xfrm>
          <a:prstGeom prst="rect">
            <a:avLst/>
          </a:prstGeom>
        </p:spPr>
      </p:pic>
      <p:pic>
        <p:nvPicPr>
          <p:cNvPr id="6" name="Picture 5">
            <a:extLst>
              <a:ext uri="{FF2B5EF4-FFF2-40B4-BE49-F238E27FC236}">
                <a16:creationId xmlns:a16="http://schemas.microsoft.com/office/drawing/2014/main" id="{0332D0A0-ED4B-A3F8-10E8-4B5597C785E1}"/>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1324423" y="317754"/>
            <a:ext cx="10867577" cy="6540245"/>
          </a:xfrm>
          <a:prstGeom prst="rect">
            <a:avLst/>
          </a:prstGeom>
        </p:spPr>
      </p:pic>
    </p:spTree>
    <p:extLst>
      <p:ext uri="{BB962C8B-B14F-4D97-AF65-F5344CB8AC3E}">
        <p14:creationId xmlns:p14="http://schemas.microsoft.com/office/powerpoint/2010/main" val="617949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4_Title Slide - Defense - Sea">
    <p:bg>
      <p:bgRef idx="1002">
        <a:schemeClr val="bg2"/>
      </p:bgRef>
    </p:bg>
    <p:spTree>
      <p:nvGrpSpPr>
        <p:cNvPr id="1" name=""/>
        <p:cNvGrpSpPr/>
        <p:nvPr/>
      </p:nvGrpSpPr>
      <p:grpSpPr>
        <a:xfrm>
          <a:off x="0" y="0"/>
          <a:ext cx="0" cy="0"/>
          <a:chOff x="0" y="0"/>
          <a:chExt cx="0" cy="0"/>
        </a:xfrm>
      </p:grpSpPr>
      <p:pic>
        <p:nvPicPr>
          <p:cNvPr id="8" name="Picture 15">
            <a:extLst>
              <a:ext uri="{FF2B5EF4-FFF2-40B4-BE49-F238E27FC236}">
                <a16:creationId xmlns:a16="http://schemas.microsoft.com/office/drawing/2014/main" id="{793F1D29-F2FC-2601-44BF-EEA9531F6C27}"/>
              </a:ext>
            </a:extLst>
          </p:cNvPr>
          <p:cNvPicPr>
            <a:picLocks noChangeAspect="1"/>
          </p:cNvPicPr>
          <p:nvPr/>
        </p:nvPicPr>
        <p:blipFill>
          <a:blip r:embed="rId2">
            <a:extLst>
              <a:ext uri="{96DAC541-7B7A-43D3-8B79-37D633B846F1}">
                <asvg:svgBlip xmlns:asvg="http://schemas.microsoft.com/office/drawing/2016/SVG/main" r:embed="rId3"/>
              </a:ext>
            </a:extLst>
          </a:blip>
          <a:srcRect l="2292" t="2292"/>
          <a:stretch>
            <a:fillRect/>
          </a:stretch>
        </p:blipFill>
        <p:spPr>
          <a:xfrm>
            <a:off x="0" y="0"/>
            <a:ext cx="12192000" cy="6857999"/>
          </a:xfrm>
          <a:prstGeom prst="rect">
            <a:avLst/>
          </a:prstGeom>
        </p:spPr>
      </p:pic>
      <p:pic>
        <p:nvPicPr>
          <p:cNvPr id="13" name="Picture 12">
            <a:extLst>
              <a:ext uri="{FF2B5EF4-FFF2-40B4-BE49-F238E27FC236}">
                <a16:creationId xmlns:a16="http://schemas.microsoft.com/office/drawing/2014/main" id="{E53FE81E-C7E5-4DBC-59B7-97AD32E000F6}"/>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6468533" y="0"/>
            <a:ext cx="5723467" cy="5226037"/>
          </a:xfrm>
          <a:prstGeom prst="rect">
            <a:avLst/>
          </a:prstGeom>
        </p:spPr>
      </p:pic>
      <p:sp>
        <p:nvSpPr>
          <p:cNvPr id="2" name="Title 1">
            <a:extLst>
              <a:ext uri="{FF2B5EF4-FFF2-40B4-BE49-F238E27FC236}">
                <a16:creationId xmlns:a16="http://schemas.microsoft.com/office/drawing/2014/main" id="{4546C472-952B-B9E0-8828-0284C2A8785D}"/>
              </a:ext>
            </a:extLst>
          </p:cNvPr>
          <p:cNvSpPr>
            <a:spLocks noGrp="1"/>
          </p:cNvSpPr>
          <p:nvPr>
            <p:ph type="ctrTitle"/>
          </p:nvPr>
        </p:nvSpPr>
        <p:spPr>
          <a:xfrm>
            <a:off x="540000" y="1700213"/>
            <a:ext cx="6168297" cy="1809750"/>
          </a:xfrm>
        </p:spPr>
        <p:txBody>
          <a:bodyPr anchor="b"/>
          <a:lstStyle>
            <a:lvl1pPr algn="l">
              <a:lnSpc>
                <a:spcPct val="80000"/>
              </a:lnSpc>
              <a:defRPr sz="6000">
                <a:solidFill>
                  <a:schemeClr val="bg1"/>
                </a:solidFill>
                <a:latin typeface="+mn-lt"/>
              </a:defRPr>
            </a:lvl1pPr>
          </a:lstStyle>
          <a:p>
            <a:r>
              <a:rPr lang="en-US"/>
              <a:t>Click to edit Master title style</a:t>
            </a:r>
            <a:endParaRPr lang="nl-NL" dirty="0"/>
          </a:p>
        </p:txBody>
      </p:sp>
      <p:sp>
        <p:nvSpPr>
          <p:cNvPr id="34" name="Date Placeholder 33">
            <a:extLst>
              <a:ext uri="{FF2B5EF4-FFF2-40B4-BE49-F238E27FC236}">
                <a16:creationId xmlns:a16="http://schemas.microsoft.com/office/drawing/2014/main" id="{C08B28BF-0A7D-E3F2-26C7-DA673B310901}"/>
              </a:ext>
            </a:extLst>
          </p:cNvPr>
          <p:cNvSpPr>
            <a:spLocks noGrp="1"/>
          </p:cNvSpPr>
          <p:nvPr>
            <p:ph type="dt" sz="half" idx="10"/>
          </p:nvPr>
        </p:nvSpPr>
        <p:spPr>
          <a:xfrm>
            <a:off x="545524" y="4361487"/>
            <a:ext cx="1897639" cy="144000"/>
          </a:xfrm>
        </p:spPr>
        <p:txBody>
          <a:bodyPr/>
          <a:lstStyle>
            <a:lvl1pPr algn="l">
              <a:defRPr sz="1200">
                <a:solidFill>
                  <a:schemeClr val="bg1"/>
                </a:solidFill>
              </a:defRPr>
            </a:lvl1pPr>
          </a:lstStyle>
          <a:p>
            <a:fld id="{BEB22B47-D53E-4036-966D-BBC0284ADB56}" type="datetimeFigureOut">
              <a:rPr lang="en-US" smtClean="0"/>
              <a:t>3/13/26</a:t>
            </a:fld>
            <a:endParaRPr lang="en-US"/>
          </a:p>
        </p:txBody>
      </p:sp>
      <p:sp>
        <p:nvSpPr>
          <p:cNvPr id="9" name="Text Placeholder 8">
            <a:extLst>
              <a:ext uri="{FF2B5EF4-FFF2-40B4-BE49-F238E27FC236}">
                <a16:creationId xmlns:a16="http://schemas.microsoft.com/office/drawing/2014/main" id="{B681DEF9-9FA4-B5CC-164B-4153FF7B5BF8}"/>
              </a:ext>
            </a:extLst>
          </p:cNvPr>
          <p:cNvSpPr>
            <a:spLocks noGrp="1"/>
          </p:cNvSpPr>
          <p:nvPr>
            <p:ph type="body" sz="quarter" idx="11" hasCustomPrompt="1"/>
          </p:nvPr>
        </p:nvSpPr>
        <p:spPr>
          <a:xfrm>
            <a:off x="546100" y="3663890"/>
            <a:ext cx="3482975" cy="623887"/>
          </a:xfrm>
        </p:spPr>
        <p:txBody>
          <a:bodyPr/>
          <a:lstStyle>
            <a:lvl1pPr>
              <a:defRPr sz="1300" b="0">
                <a:solidFill>
                  <a:schemeClr val="bg1"/>
                </a:solidFill>
              </a:defRPr>
            </a:lvl1pPr>
            <a:lvl2pPr marL="0" indent="0">
              <a:lnSpc>
                <a:spcPct val="100000"/>
              </a:lnSpc>
              <a:spcBef>
                <a:spcPts val="0"/>
              </a:spcBef>
              <a:tabLst/>
              <a:defRPr sz="1300" b="1">
                <a:solidFill>
                  <a:schemeClr val="bg1"/>
                </a:solidFill>
              </a:defRPr>
            </a:lvl2pPr>
            <a:lvl3pPr marL="0" indent="0">
              <a:spcBef>
                <a:spcPts val="0"/>
              </a:spcBef>
              <a:buNone/>
              <a:defRPr sz="1300" b="1">
                <a:solidFill>
                  <a:schemeClr val="bg1"/>
                </a:solidFill>
              </a:defRPr>
            </a:lvl3pPr>
          </a:lstStyle>
          <a:p>
            <a:pPr lvl="0"/>
            <a:r>
              <a:rPr lang="en-GB" dirty="0"/>
              <a:t>Presented by:</a:t>
            </a:r>
          </a:p>
          <a:p>
            <a:pPr lvl="1"/>
            <a:r>
              <a:rPr lang="en-GB" dirty="0"/>
              <a:t>First Name Last Name</a:t>
            </a:r>
          </a:p>
          <a:p>
            <a:pPr lvl="2"/>
            <a:r>
              <a:rPr lang="en-GB" dirty="0"/>
              <a:t>Job Title</a:t>
            </a:r>
          </a:p>
        </p:txBody>
      </p:sp>
      <p:sp>
        <p:nvSpPr>
          <p:cNvPr id="3" name="TextBox 2">
            <a:extLst>
              <a:ext uri="{FF2B5EF4-FFF2-40B4-BE49-F238E27FC236}">
                <a16:creationId xmlns:a16="http://schemas.microsoft.com/office/drawing/2014/main" id="{C9B0D220-7A6D-84B1-28D7-CC53F657DBFC}"/>
              </a:ext>
            </a:extLst>
          </p:cNvPr>
          <p:cNvSpPr txBox="1"/>
          <p:nvPr/>
        </p:nvSpPr>
        <p:spPr>
          <a:xfrm>
            <a:off x="545524" y="-338593"/>
            <a:ext cx="2586862" cy="184666"/>
          </a:xfrm>
          <a:prstGeom prst="rect">
            <a:avLst/>
          </a:prstGeom>
          <a:noFill/>
        </p:spPr>
        <p:txBody>
          <a:bodyPr wrap="none" lIns="0" tIns="0" rIns="0" bIns="0" rtlCol="0">
            <a:spAutoFit/>
          </a:bodyPr>
          <a:lstStyle/>
          <a:p>
            <a:r>
              <a:rPr lang="en-GB" sz="1200" b="1" dirty="0">
                <a:solidFill>
                  <a:schemeClr val="accent1"/>
                </a:solidFill>
              </a:rPr>
              <a:t>Title slide</a:t>
            </a:r>
            <a:r>
              <a:rPr lang="en-GB" sz="1200" dirty="0">
                <a:solidFill>
                  <a:schemeClr val="accent1"/>
                </a:solidFill>
              </a:rPr>
              <a:t> vertical – aviation – version 1</a:t>
            </a:r>
          </a:p>
        </p:txBody>
      </p:sp>
      <p:pic>
        <p:nvPicPr>
          <p:cNvPr id="11" name="Graphic 10">
            <a:extLst>
              <a:ext uri="{FF2B5EF4-FFF2-40B4-BE49-F238E27FC236}">
                <a16:creationId xmlns:a16="http://schemas.microsoft.com/office/drawing/2014/main" id="{D1E51F68-CC3E-D329-376C-D646EE2CF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4456" y="138112"/>
            <a:ext cx="3042092" cy="1170432"/>
          </a:xfrm>
          <a:prstGeom prst="rect">
            <a:avLst/>
          </a:prstGeom>
        </p:spPr>
      </p:pic>
      <p:pic>
        <p:nvPicPr>
          <p:cNvPr id="5" name="Picture 4">
            <a:extLst>
              <a:ext uri="{FF2B5EF4-FFF2-40B4-BE49-F238E27FC236}">
                <a16:creationId xmlns:a16="http://schemas.microsoft.com/office/drawing/2014/main" id="{14416EB6-4414-A5BC-4844-92057CD1F481}"/>
              </a:ext>
            </a:extLst>
          </p:cNvPr>
          <p:cNvPicPr>
            <a:picLocks noChangeAspect="1"/>
          </p:cNvPicPr>
          <p:nvPr userDrawn="1"/>
        </p:nvPicPr>
        <p:blipFill>
          <a:blip r:embed="rId7" cstate="print">
            <a:extLst>
              <a:ext uri="{28A0092B-C50C-407E-A947-70E740481C1C}">
                <a14:useLocalDpi xmlns:a14="http://schemas.microsoft.com/office/drawing/2010/main"/>
              </a:ext>
            </a:extLst>
          </a:blip>
          <a:srcRect t="-3"/>
          <a:stretch>
            <a:fillRect/>
          </a:stretch>
        </p:blipFill>
        <p:spPr>
          <a:xfrm>
            <a:off x="176466" y="3594077"/>
            <a:ext cx="9842875" cy="3263922"/>
          </a:xfrm>
          <a:prstGeom prst="rect">
            <a:avLst/>
          </a:prstGeom>
        </p:spPr>
      </p:pic>
    </p:spTree>
    <p:extLst>
      <p:ext uri="{BB962C8B-B14F-4D97-AF65-F5344CB8AC3E}">
        <p14:creationId xmlns:p14="http://schemas.microsoft.com/office/powerpoint/2010/main" val="3128313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1D44F-972A-143F-914B-A65B557BF898}"/>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115F9907-00C3-6580-A602-FEFC11583C30}"/>
              </a:ext>
            </a:extLst>
          </p:cNvPr>
          <p:cNvSpPr>
            <a:spLocks noGrp="1"/>
          </p:cNvSpPr>
          <p:nvPr>
            <p:ph idx="1"/>
          </p:nvPr>
        </p:nvSpPr>
        <p:spPr>
          <a:xfrm>
            <a:off x="539999" y="1709999"/>
            <a:ext cx="11107715" cy="4521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6" name="Text Placeholder 15">
            <a:extLst>
              <a:ext uri="{FF2B5EF4-FFF2-40B4-BE49-F238E27FC236}">
                <a16:creationId xmlns:a16="http://schemas.microsoft.com/office/drawing/2014/main" id="{8387E339-22D2-7EA7-1EA7-EB4D0273EC5D}"/>
              </a:ext>
            </a:extLst>
          </p:cNvPr>
          <p:cNvSpPr>
            <a:spLocks noGrp="1"/>
          </p:cNvSpPr>
          <p:nvPr>
            <p:ph type="body" sz="quarter" idx="13" hasCustomPrompt="1"/>
          </p:nvPr>
        </p:nvSpPr>
        <p:spPr>
          <a:xfrm>
            <a:off x="541338" y="1009185"/>
            <a:ext cx="11107738" cy="256054"/>
          </a:xfrm>
        </p:spPr>
        <p:txBody>
          <a:bodyPr/>
          <a:lstStyle>
            <a:lvl1pPr>
              <a:lnSpc>
                <a:spcPct val="90000"/>
              </a:lnSpc>
              <a:defRPr sz="2400" b="0">
                <a:latin typeface="+mj-lt"/>
              </a:defRPr>
            </a:lvl1pPr>
          </a:lstStyle>
          <a:p>
            <a:pPr lvl="0"/>
            <a:r>
              <a:rPr lang="en-GB" dirty="0"/>
              <a:t>Click to add subtitle</a:t>
            </a:r>
          </a:p>
        </p:txBody>
      </p:sp>
      <p:sp>
        <p:nvSpPr>
          <p:cNvPr id="4" name="Date Placeholder 3">
            <a:extLst>
              <a:ext uri="{FF2B5EF4-FFF2-40B4-BE49-F238E27FC236}">
                <a16:creationId xmlns:a16="http://schemas.microsoft.com/office/drawing/2014/main" id="{39682058-417B-4278-0C72-7DA673AC18CC}"/>
              </a:ext>
            </a:extLst>
          </p:cNvPr>
          <p:cNvSpPr>
            <a:spLocks noGrp="1"/>
          </p:cNvSpPr>
          <p:nvPr>
            <p:ph type="dt" sz="half" idx="14"/>
          </p:nvPr>
        </p:nvSpPr>
        <p:spPr/>
        <p:txBody>
          <a:bodyPr/>
          <a:lstStyle/>
          <a:p>
            <a:fld id="{BEB22B47-D53E-4036-966D-BBC0284ADB56}" type="datetimeFigureOut">
              <a:rPr lang="en-US" smtClean="0"/>
              <a:t>3/13/26</a:t>
            </a:fld>
            <a:endParaRPr lang="en-US"/>
          </a:p>
        </p:txBody>
      </p:sp>
      <p:sp>
        <p:nvSpPr>
          <p:cNvPr id="5" name="Footer Placeholder 4">
            <a:extLst>
              <a:ext uri="{FF2B5EF4-FFF2-40B4-BE49-F238E27FC236}">
                <a16:creationId xmlns:a16="http://schemas.microsoft.com/office/drawing/2014/main" id="{1A9A63D8-9BBA-A598-9C4B-832CE9BB5669}"/>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C1C05845-F4F0-E3C7-8BB2-6FEA45DBE86B}"/>
              </a:ext>
            </a:extLst>
          </p:cNvPr>
          <p:cNvSpPr>
            <a:spLocks noGrp="1"/>
          </p:cNvSpPr>
          <p:nvPr>
            <p:ph type="sldNum" sz="quarter" idx="16"/>
          </p:nvPr>
        </p:nvSpPr>
        <p:spPr/>
        <p:txBody>
          <a:bodyPr/>
          <a:lstStyle/>
          <a:p>
            <a:fld id="{CAD289FC-94DA-414F-BF09-0C2EF808B77F}" type="slidenum">
              <a:rPr lang="en-US" smtClean="0"/>
              <a:t>‹#›</a:t>
            </a:fld>
            <a:endParaRPr lang="en-US"/>
          </a:p>
        </p:txBody>
      </p:sp>
      <p:sp>
        <p:nvSpPr>
          <p:cNvPr id="7" name="TextBox 6">
            <a:extLst>
              <a:ext uri="{FF2B5EF4-FFF2-40B4-BE49-F238E27FC236}">
                <a16:creationId xmlns:a16="http://schemas.microsoft.com/office/drawing/2014/main" id="{D99EDC11-313D-9EB7-4D4C-81179DFE6DDE}"/>
              </a:ext>
            </a:extLst>
          </p:cNvPr>
          <p:cNvSpPr txBox="1"/>
          <p:nvPr/>
        </p:nvSpPr>
        <p:spPr>
          <a:xfrm>
            <a:off x="545524" y="-338593"/>
            <a:ext cx="1363771" cy="184666"/>
          </a:xfrm>
          <a:prstGeom prst="rect">
            <a:avLst/>
          </a:prstGeom>
          <a:noFill/>
        </p:spPr>
        <p:txBody>
          <a:bodyPr wrap="none" lIns="0" tIns="0" rIns="0" bIns="0" rtlCol="0">
            <a:spAutoFit/>
          </a:bodyPr>
          <a:lstStyle/>
          <a:p>
            <a:r>
              <a:rPr lang="en-GB" sz="1200" b="1" dirty="0">
                <a:solidFill>
                  <a:schemeClr val="accent1"/>
                </a:solidFill>
              </a:rPr>
              <a:t>Standard slide</a:t>
            </a:r>
            <a:r>
              <a:rPr lang="en-GB" sz="1200" dirty="0">
                <a:solidFill>
                  <a:schemeClr val="accent1"/>
                </a:solidFill>
              </a:rPr>
              <a:t> light</a:t>
            </a:r>
          </a:p>
        </p:txBody>
      </p:sp>
      <p:cxnSp>
        <p:nvCxnSpPr>
          <p:cNvPr id="8" name="Straight Connector 7">
            <a:extLst>
              <a:ext uri="{FF2B5EF4-FFF2-40B4-BE49-F238E27FC236}">
                <a16:creationId xmlns:a16="http://schemas.microsoft.com/office/drawing/2014/main" id="{4BC643F5-F449-F2FC-E568-EDD52A1D12FB}"/>
              </a:ext>
            </a:extLst>
          </p:cNvPr>
          <p:cNvCxnSpPr>
            <a:cxnSpLocks/>
          </p:cNvCxnSpPr>
          <p:nvPr/>
        </p:nvCxnSpPr>
        <p:spPr>
          <a:xfrm flipV="1">
            <a:off x="60960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C2529A6-4174-5CFE-82A9-D830F8E2E1E1}"/>
              </a:ext>
            </a:extLst>
          </p:cNvPr>
          <p:cNvCxnSpPr>
            <a:cxnSpLocks/>
          </p:cNvCxnSpPr>
          <p:nvPr/>
        </p:nvCxnSpPr>
        <p:spPr>
          <a:xfrm flipV="1">
            <a:off x="5447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8733EBAB-7B0E-A243-606C-70C986475F4B}"/>
              </a:ext>
            </a:extLst>
          </p:cNvPr>
          <p:cNvCxnSpPr>
            <a:cxnSpLocks/>
          </p:cNvCxnSpPr>
          <p:nvPr/>
        </p:nvCxnSpPr>
        <p:spPr>
          <a:xfrm flipV="1">
            <a:off x="6096000"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65FE2158-7133-231A-08B8-66681F6282B2}"/>
              </a:ext>
            </a:extLst>
          </p:cNvPr>
          <p:cNvCxnSpPr>
            <a:cxnSpLocks/>
          </p:cNvCxnSpPr>
          <p:nvPr/>
        </p:nvCxnSpPr>
        <p:spPr>
          <a:xfrm flipV="1">
            <a:off x="544799"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22E04FB-60B5-850F-F40F-1E90F1233371}"/>
              </a:ext>
            </a:extLst>
          </p:cNvPr>
          <p:cNvCxnSpPr>
            <a:cxnSpLocks/>
          </p:cNvCxnSpPr>
          <p:nvPr/>
        </p:nvCxnSpPr>
        <p:spPr>
          <a:xfrm flipV="1">
            <a:off x="11645386" y="7020000"/>
            <a:ext cx="0" cy="48600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96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5.jpe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image" Target="../media/image16.png"/><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image" Target="../media/image16.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image" Target="../media/image15.jpeg"/><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theme" Target="../theme/theme3.xml"/><Relationship Id="rId8" Type="http://schemas.openxmlformats.org/officeDocument/2006/relationships/slideLayout" Target="../slideLayouts/slideLayout51.xml"/><Relationship Id="rId3"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image" Target="../media/image37.wmf"/><Relationship Id="rId2" Type="http://schemas.openxmlformats.org/officeDocument/2006/relationships/slideLayout" Target="../slideLayouts/slideLayout79.xml"/><Relationship Id="rId16" Type="http://schemas.openxmlformats.org/officeDocument/2006/relationships/theme" Target="../theme/theme4.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theme" Target="../theme/theme5.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D8BBCA6-0BD7-C9DB-1653-370988CA2D53}"/>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4" name="think-cell data - do not delete" hidden="1">
                        <a:extLst>
                          <a:ext uri="{FF2B5EF4-FFF2-40B4-BE49-F238E27FC236}">
                            <a16:creationId xmlns:a16="http://schemas.microsoft.com/office/drawing/2014/main" id="{ED8BBCA6-0BD7-C9DB-1653-370988CA2D5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9105900"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rPr>
              <a:t>© 2026, Amazon Web Services, Inc. or its affiliates. All rights reserved.</a:t>
            </a:r>
          </a:p>
        </p:txBody>
      </p:sp>
      <p:sp>
        <p:nvSpPr>
          <p:cNvPr id="25" name="Title Placeholder 1">
            <a:extLst>
              <a:ext uri="{FF2B5EF4-FFF2-40B4-BE49-F238E27FC236}">
                <a16:creationId xmlns:a16="http://schemas.microsoft.com/office/drawing/2014/main" id="{4DFFD08F-49D6-8825-ABAB-CF8590FC67EC}"/>
              </a:ext>
            </a:extLst>
          </p:cNvPr>
          <p:cNvSpPr>
            <a:spLocks noGrp="1"/>
          </p:cNvSpPr>
          <p:nvPr>
            <p:ph type="title"/>
          </p:nvPr>
        </p:nvSpPr>
        <p:spPr>
          <a:xfrm>
            <a:off x="425038" y="355015"/>
            <a:ext cx="11430001" cy="638175"/>
          </a:xfrm>
          <a:prstGeom prst="rect">
            <a:avLst/>
          </a:prstGeom>
        </p:spPr>
        <p:txBody>
          <a:bodyPr vert="horz" lIns="0" tIns="45720" rIns="0" bIns="45720" rtlCol="0" anchor="t">
            <a:noAutofit/>
          </a:bodyPr>
          <a:lstStyle/>
          <a:p>
            <a:r>
              <a:rPr lang="en-US" dirty="0"/>
              <a:t>Click to edit Master title style</a:t>
            </a:r>
          </a:p>
        </p:txBody>
      </p:sp>
      <p:sp>
        <p:nvSpPr>
          <p:cNvPr id="26" name="Text Placeholder 2">
            <a:extLst>
              <a:ext uri="{FF2B5EF4-FFF2-40B4-BE49-F238E27FC236}">
                <a16:creationId xmlns:a16="http://schemas.microsoft.com/office/drawing/2014/main" id="{6BF5023C-9DDF-2272-283E-FA3171F1D1CA}"/>
              </a:ext>
            </a:extLst>
          </p:cNvPr>
          <p:cNvSpPr>
            <a:spLocks noGrp="1"/>
          </p:cNvSpPr>
          <p:nvPr>
            <p:ph type="body" idx="1"/>
          </p:nvPr>
        </p:nvSpPr>
        <p:spPr>
          <a:xfrm>
            <a:off x="425038" y="1384288"/>
            <a:ext cx="11430001" cy="2049792"/>
          </a:xfrm>
          <a:prstGeom prst="rect">
            <a:avLst/>
          </a:prstGeom>
        </p:spPr>
        <p:txBody>
          <a:bodyPr vert="horz" wrap="square" lIns="0" tIns="45720" rIns="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129C534B-A3FE-9853-E9CE-2271CF0D77A2}"/>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402490189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0" r:id="rId7"/>
    <p:sldLayoutId id="2147483740" r:id="rId8"/>
    <p:sldLayoutId id="2147483760" r:id="rId9"/>
    <p:sldLayoutId id="2147483790" r:id="rId10"/>
    <p:sldLayoutId id="2147483791" r:id="rId11"/>
  </p:sldLayoutIdLst>
  <p:transition>
    <p:fade/>
  </p:transition>
  <p:hf hdr="0" ftr="0" dt="0"/>
  <p:txStyles>
    <p:title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tabLst/>
        <a:defRPr sz="2400" kern="1200">
          <a:solidFill>
            <a:schemeClr val="tx1"/>
          </a:solidFill>
          <a:latin typeface="+mn-lt"/>
          <a:ea typeface="+mn-ea"/>
          <a:cs typeface="+mn-cs"/>
        </a:defRPr>
      </a:lvl1pPr>
      <a:lvl2pPr marL="573088" indent="-344488"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tabLst/>
        <a:defRPr sz="2400" kern="1200">
          <a:solidFill>
            <a:schemeClr val="tx1"/>
          </a:solidFill>
          <a:latin typeface="+mn-lt"/>
          <a:ea typeface="+mn-ea"/>
          <a:cs typeface="+mn-cs"/>
        </a:defRPr>
      </a:lvl2pPr>
      <a:lvl3pPr marL="641350" indent="-409575"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44">
          <p15:clr>
            <a:srgbClr val="F26B43"/>
          </p15:clr>
        </p15:guide>
        <p15:guide id="4" orient="horz" pos="3888">
          <p15:clr>
            <a:srgbClr val="F26B43"/>
          </p15:clr>
        </p15:guide>
        <p15:guide id="5" pos="292">
          <p15:clr>
            <a:srgbClr val="F26B43"/>
          </p15:clr>
        </p15:guide>
        <p15:guide id="6" pos="7387">
          <p15:clr>
            <a:srgbClr val="F26B43"/>
          </p15:clr>
        </p15:guide>
        <p15:guide id="7" orient="horz" pos="864">
          <p15:clr>
            <a:srgbClr val="F26B43"/>
          </p15:clr>
        </p15:guide>
        <p15:guide id="8" orient="horz" pos="285">
          <p15:clr>
            <a:srgbClr val="F26B43"/>
          </p15:clr>
        </p15:guide>
        <p15:guide id="9" orient="horz" pos="432">
          <p15:clr>
            <a:srgbClr val="F26B43"/>
          </p15:clr>
        </p15:guide>
        <p15:guide id="10" orient="horz" pos="576">
          <p15:clr>
            <a:srgbClr val="F26B43"/>
          </p15:clr>
        </p15:guide>
        <p15:guide id="11" orient="horz" pos="720">
          <p15:clr>
            <a:srgbClr val="F26B43"/>
          </p15:clr>
        </p15:guide>
        <p15:guide id="12" orient="horz" pos="1008">
          <p15:clr>
            <a:srgbClr val="F26B43"/>
          </p15:clr>
        </p15:guide>
        <p15:guide id="13" orient="horz" pos="1155">
          <p15:clr>
            <a:srgbClr val="F26B43"/>
          </p15:clr>
        </p15:guide>
        <p15:guide id="14" orient="horz" pos="1296">
          <p15:clr>
            <a:srgbClr val="F26B43"/>
          </p15:clr>
        </p15:guide>
        <p15:guide id="15" orient="horz" pos="1440">
          <p15:clr>
            <a:srgbClr val="F26B43"/>
          </p15:clr>
        </p15:guide>
        <p15:guide id="16" orient="horz" pos="1582">
          <p15:clr>
            <a:srgbClr val="F26B43"/>
          </p15:clr>
        </p15:guide>
        <p15:guide id="17" orient="horz" pos="1727">
          <p15:clr>
            <a:srgbClr val="F26B43"/>
          </p15:clr>
        </p15:guide>
        <p15:guide id="18" orient="horz" pos="1871">
          <p15:clr>
            <a:srgbClr val="F26B43"/>
          </p15:clr>
        </p15:guide>
        <p15:guide id="19" orient="horz" pos="2013">
          <p15:clr>
            <a:srgbClr val="F26B43"/>
          </p15:clr>
        </p15:guide>
        <p15:guide id="20" orient="horz" pos="2159">
          <p15:clr>
            <a:srgbClr val="F26B43"/>
          </p15:clr>
        </p15:guide>
        <p15:guide id="21" orient="horz" pos="2304">
          <p15:clr>
            <a:srgbClr val="F26B43"/>
          </p15:clr>
        </p15:guide>
        <p15:guide id="22" orient="horz" pos="2448">
          <p15:clr>
            <a:srgbClr val="F26B43"/>
          </p15:clr>
        </p15:guide>
        <p15:guide id="23" orient="horz" pos="2592">
          <p15:clr>
            <a:srgbClr val="F26B43"/>
          </p15:clr>
        </p15:guide>
        <p15:guide id="24" orient="horz" pos="2736">
          <p15:clr>
            <a:srgbClr val="F26B43"/>
          </p15:clr>
        </p15:guide>
        <p15:guide id="25" orient="horz" pos="2878">
          <p15:clr>
            <a:srgbClr val="F26B43"/>
          </p15:clr>
        </p15:guide>
        <p15:guide id="26" orient="horz" pos="3021">
          <p15:clr>
            <a:srgbClr val="F26B43"/>
          </p15:clr>
        </p15:guide>
        <p15:guide id="27" orient="horz" pos="3167">
          <p15:clr>
            <a:srgbClr val="F26B43"/>
          </p15:clr>
        </p15:guide>
        <p15:guide id="28" orient="horz" pos="3312">
          <p15:clr>
            <a:srgbClr val="F26B43"/>
          </p15:clr>
        </p15:guide>
        <p15:guide id="29" orient="horz" pos="3455">
          <p15:clr>
            <a:srgbClr val="F26B43"/>
          </p15:clr>
        </p15:guide>
        <p15:guide id="30" orient="horz" pos="3597">
          <p15:clr>
            <a:srgbClr val="F26B43"/>
          </p15:clr>
        </p15:guide>
        <p15:guide id="31" orient="horz" pos="3741">
          <p15:clr>
            <a:srgbClr val="F26B43"/>
          </p15:clr>
        </p15:guide>
        <p15:guide id="32" orient="horz" pos="4031">
          <p15:clr>
            <a:srgbClr val="F26B43"/>
          </p15:clr>
        </p15:guide>
        <p15:guide id="33" orient="horz" pos="4174">
          <p15:clr>
            <a:srgbClr val="F26B43"/>
          </p15:clr>
        </p15:guide>
        <p15:guide id="34" orient="horz" pos="4320">
          <p15:clr>
            <a:srgbClr val="F26B43"/>
          </p15:clr>
        </p15:guide>
        <p15:guide id="35" pos="747">
          <p15:clr>
            <a:srgbClr val="F26B43"/>
          </p15:clr>
        </p15:guide>
        <p15:guide id="36" pos="896">
          <p15:clr>
            <a:srgbClr val="F26B43"/>
          </p15:clr>
        </p15:guide>
        <p15:guide id="37" pos="1352">
          <p15:clr>
            <a:srgbClr val="F26B43"/>
          </p15:clr>
        </p15:guide>
        <p15:guide id="38" pos="1500">
          <p15:clr>
            <a:srgbClr val="F26B43"/>
          </p15:clr>
        </p15:guide>
        <p15:guide id="39" pos="1957">
          <p15:clr>
            <a:srgbClr val="F26B43"/>
          </p15:clr>
        </p15:guide>
        <p15:guide id="40" pos="2103">
          <p15:clr>
            <a:srgbClr val="F26B43"/>
          </p15:clr>
        </p15:guide>
        <p15:guide id="41" pos="2560">
          <p15:clr>
            <a:srgbClr val="F26B43"/>
          </p15:clr>
        </p15:guide>
        <p15:guide id="42" pos="2708">
          <p15:clr>
            <a:srgbClr val="F26B43"/>
          </p15:clr>
        </p15:guide>
        <p15:guide id="43" pos="3163">
          <p15:clr>
            <a:srgbClr val="F26B43"/>
          </p15:clr>
        </p15:guide>
        <p15:guide id="44" pos="3309">
          <p15:clr>
            <a:srgbClr val="F26B43"/>
          </p15:clr>
        </p15:guide>
        <p15:guide id="45" pos="3769">
          <p15:clr>
            <a:srgbClr val="F26B43"/>
          </p15:clr>
        </p15:guide>
        <p15:guide id="46" pos="3913">
          <p15:clr>
            <a:srgbClr val="F26B43"/>
          </p15:clr>
        </p15:guide>
        <p15:guide id="47" pos="4372">
          <p15:clr>
            <a:srgbClr val="F26B43"/>
          </p15:clr>
        </p15:guide>
        <p15:guide id="48" pos="4517">
          <p15:clr>
            <a:srgbClr val="F26B43"/>
          </p15:clr>
        </p15:guide>
        <p15:guide id="49" pos="4975">
          <p15:clr>
            <a:srgbClr val="F26B43"/>
          </p15:clr>
        </p15:guide>
        <p15:guide id="50" pos="5120">
          <p15:clr>
            <a:srgbClr val="F26B43"/>
          </p15:clr>
        </p15:guide>
        <p15:guide id="51" pos="5577">
          <p15:clr>
            <a:srgbClr val="F26B43"/>
          </p15:clr>
        </p15:guide>
        <p15:guide id="52" pos="5724">
          <p15:clr>
            <a:srgbClr val="F26B43"/>
          </p15:clr>
        </p15:guide>
        <p15:guide id="53" pos="6183">
          <p15:clr>
            <a:srgbClr val="F26B43"/>
          </p15:clr>
        </p15:guide>
        <p15:guide id="54" pos="6328">
          <p15:clr>
            <a:srgbClr val="F26B43"/>
          </p15:clr>
        </p15:guide>
        <p15:guide id="55" pos="6785">
          <p15:clr>
            <a:srgbClr val="F26B43"/>
          </p15:clr>
        </p15:guide>
        <p15:guide id="56" pos="6933">
          <p15:clr>
            <a:srgbClr val="F26B43"/>
          </p15:clr>
        </p15:guide>
        <p15:guide id="57" pos="76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71DBC7-A563-4787-896F-A8C55AC39541}"/>
              </a:ext>
            </a:extLst>
          </p:cNvPr>
          <p:cNvSpPr>
            <a:spLocks noGrp="1"/>
          </p:cNvSpPr>
          <p:nvPr>
            <p:ph type="title"/>
          </p:nvPr>
        </p:nvSpPr>
        <p:spPr>
          <a:xfrm>
            <a:off x="304800" y="304800"/>
            <a:ext cx="11582400" cy="638175"/>
          </a:xfrm>
          <a:prstGeom prst="rect">
            <a:avLst/>
          </a:prstGeom>
        </p:spPr>
        <p:txBody>
          <a:bodyPr vert="horz" lIns="0" tIns="45720" rIns="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8BD4A25B-ECC2-4D0E-BA51-828900AA1150}"/>
              </a:ext>
            </a:extLst>
          </p:cNvPr>
          <p:cNvSpPr>
            <a:spLocks noGrp="1"/>
          </p:cNvSpPr>
          <p:nvPr>
            <p:ph type="body" idx="1"/>
          </p:nvPr>
        </p:nvSpPr>
        <p:spPr>
          <a:xfrm>
            <a:off x="304801" y="1485900"/>
            <a:ext cx="11582400" cy="2049792"/>
          </a:xfrm>
          <a:prstGeom prst="rect">
            <a:avLst/>
          </a:prstGeom>
        </p:spPr>
        <p:txBody>
          <a:bodyPr vert="horz" lIns="0" tIns="45720" rIns="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3AAC10-7019-4712-85D0-4C900536A54E}"/>
              </a:ext>
            </a:extLst>
          </p:cNvPr>
          <p:cNvSpPr>
            <a:spLocks noGrp="1"/>
          </p:cNvSpPr>
          <p:nvPr>
            <p:ph type="dt" sz="half" idx="2"/>
          </p:nvPr>
        </p:nvSpPr>
        <p:spPr>
          <a:xfrm>
            <a:off x="838200" y="69659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66AEACD-8FDE-40BC-8286-930C357A13C7}" type="datetimeFigureOut">
              <a:rPr lang="en-US" smtClean="0"/>
              <a:pPr/>
              <a:t>3/13/26</a:t>
            </a:fld>
            <a:endParaRPr lang="en-US"/>
          </a:p>
        </p:txBody>
      </p:sp>
      <p:sp>
        <p:nvSpPr>
          <p:cNvPr id="5" name="Footer Placeholder 4">
            <a:extLst>
              <a:ext uri="{FF2B5EF4-FFF2-40B4-BE49-F238E27FC236}">
                <a16:creationId xmlns:a16="http://schemas.microsoft.com/office/drawing/2014/main" id="{5F5BB608-7507-49E6-A3EF-FCF70056BA5E}"/>
              </a:ext>
            </a:extLst>
          </p:cNvPr>
          <p:cNvSpPr>
            <a:spLocks noGrp="1"/>
          </p:cNvSpPr>
          <p:nvPr>
            <p:ph type="ftr" sz="quarter" idx="3"/>
          </p:nvPr>
        </p:nvSpPr>
        <p:spPr>
          <a:xfrm>
            <a:off x="4038600" y="69659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8610600" y="69659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a:t>
            </a: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or its affiliates. All rights reserved.</a:t>
            </a:r>
          </a:p>
        </p:txBody>
      </p:sp>
      <p:pic>
        <p:nvPicPr>
          <p:cNvPr id="10" name="Picture 9">
            <a:extLst>
              <a:ext uri="{FF2B5EF4-FFF2-40B4-BE49-F238E27FC236}">
                <a16:creationId xmlns:a16="http://schemas.microsoft.com/office/drawing/2014/main" id="{3500FAE8-23D3-4A1A-8794-61AC6D465E0C}"/>
              </a:ext>
            </a:extLst>
          </p:cNvPr>
          <p:cNvPicPr>
            <a:picLocks noChangeAspect="1"/>
          </p:cNvPicPr>
          <p:nvPr userDrawn="1"/>
        </p:nvPicPr>
        <p:blipFill>
          <a:blip r:embed="rId35"/>
          <a:srcRect/>
          <a:stretch/>
        </p:blipFill>
        <p:spPr>
          <a:xfrm>
            <a:off x="292501" y="6428661"/>
            <a:ext cx="388818" cy="219592"/>
          </a:xfrm>
          <a:prstGeom prst="rect">
            <a:avLst/>
          </a:prstGeom>
        </p:spPr>
      </p:pic>
    </p:spTree>
    <p:extLst>
      <p:ext uri="{BB962C8B-B14F-4D97-AF65-F5344CB8AC3E}">
        <p14:creationId xmlns:p14="http://schemas.microsoft.com/office/powerpoint/2010/main" val="1002688659"/>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42" r:id="rId31"/>
    <p:sldLayoutId id="2147483743" r:id="rId32"/>
  </p:sldLayoutIdLst>
  <p:transition>
    <p:fade/>
  </p:transition>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92">
          <p15:clr>
            <a:srgbClr val="F26B43"/>
          </p15:clr>
        </p15:guide>
        <p15:guide id="4" orient="horz" pos="3912">
          <p15:clr>
            <a:srgbClr val="F26B43"/>
          </p15:clr>
        </p15:guide>
        <p15:guide id="5" pos="192">
          <p15:clr>
            <a:srgbClr val="F26B43"/>
          </p15:clr>
        </p15:guide>
        <p15:guide id="6" pos="7488">
          <p15:clr>
            <a:srgbClr val="F26B43"/>
          </p15:clr>
        </p15:guide>
        <p15:guide id="7" orient="horz" pos="9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71DBC7-A563-4787-896F-A8C55AC39541}"/>
              </a:ext>
            </a:extLst>
          </p:cNvPr>
          <p:cNvSpPr>
            <a:spLocks noGrp="1"/>
          </p:cNvSpPr>
          <p:nvPr>
            <p:ph type="title"/>
          </p:nvPr>
        </p:nvSpPr>
        <p:spPr>
          <a:xfrm>
            <a:off x="304800" y="304800"/>
            <a:ext cx="11582400" cy="638175"/>
          </a:xfrm>
          <a:prstGeom prst="rect">
            <a:avLst/>
          </a:prstGeom>
        </p:spPr>
        <p:txBody>
          <a:bodyPr vert="horz" lIns="0" tIns="45720" rIns="0" bIns="4572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BD4A25B-ECC2-4D0E-BA51-828900AA1150}"/>
              </a:ext>
            </a:extLst>
          </p:cNvPr>
          <p:cNvSpPr>
            <a:spLocks noGrp="1"/>
          </p:cNvSpPr>
          <p:nvPr>
            <p:ph type="body" idx="1"/>
          </p:nvPr>
        </p:nvSpPr>
        <p:spPr>
          <a:xfrm>
            <a:off x="304801" y="1485900"/>
            <a:ext cx="11582400" cy="2049792"/>
          </a:xfrm>
          <a:prstGeom prst="rect">
            <a:avLst/>
          </a:prstGeom>
        </p:spPr>
        <p:txBody>
          <a:bodyPr vert="horz" lIns="0" tIns="45720" rIns="0" bIns="4572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03AAC10-7019-4712-85D0-4C900536A54E}"/>
              </a:ext>
            </a:extLst>
          </p:cNvPr>
          <p:cNvSpPr>
            <a:spLocks noGrp="1"/>
          </p:cNvSpPr>
          <p:nvPr>
            <p:ph type="dt" sz="half" idx="2"/>
          </p:nvPr>
        </p:nvSpPr>
        <p:spPr>
          <a:xfrm>
            <a:off x="838200" y="69659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66AEACD-8FDE-40BC-8286-930C357A13C7}" type="datetimeFigureOut">
              <a:rPr lang="en-US" smtClean="0"/>
              <a:pPr/>
              <a:t>3/13/26</a:t>
            </a:fld>
            <a:endParaRPr lang="en-US" dirty="0"/>
          </a:p>
        </p:txBody>
      </p:sp>
      <p:sp>
        <p:nvSpPr>
          <p:cNvPr id="5" name="Footer Placeholder 4">
            <a:extLst>
              <a:ext uri="{FF2B5EF4-FFF2-40B4-BE49-F238E27FC236}">
                <a16:creationId xmlns:a16="http://schemas.microsoft.com/office/drawing/2014/main" id="{5F5BB608-7507-49E6-A3EF-FCF70056BA5E}"/>
              </a:ext>
            </a:extLst>
          </p:cNvPr>
          <p:cNvSpPr>
            <a:spLocks noGrp="1"/>
          </p:cNvSpPr>
          <p:nvPr>
            <p:ph type="ftr" sz="quarter" idx="3"/>
          </p:nvPr>
        </p:nvSpPr>
        <p:spPr>
          <a:xfrm>
            <a:off x="4038600" y="69659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8610600" y="69659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DC503246-BBCE-4F0A-BCDC-08FC4C52637D}" type="slidenum">
              <a:rPr lang="en-US" smtClean="0"/>
              <a:pPr/>
              <a:t>‹#›</a:t>
            </a:fld>
            <a:endParaRPr lang="en-US" dirty="0"/>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0" name="Picture 9">
            <a:extLst>
              <a:ext uri="{FF2B5EF4-FFF2-40B4-BE49-F238E27FC236}">
                <a16:creationId xmlns:a16="http://schemas.microsoft.com/office/drawing/2014/main" id="{3500FAE8-23D3-4A1A-8794-61AC6D465E0C}"/>
              </a:ext>
            </a:extLst>
          </p:cNvPr>
          <p:cNvPicPr>
            <a:picLocks noChangeAspect="1"/>
          </p:cNvPicPr>
          <p:nvPr userDrawn="1"/>
        </p:nvPicPr>
        <p:blipFill>
          <a:blip r:embed="rId37"/>
          <a:srcRect/>
          <a:stretch/>
        </p:blipFill>
        <p:spPr>
          <a:xfrm>
            <a:off x="292501" y="6428661"/>
            <a:ext cx="388818" cy="219592"/>
          </a:xfrm>
          <a:prstGeom prst="rect">
            <a:avLst/>
          </a:prstGeom>
        </p:spPr>
      </p:pic>
    </p:spTree>
    <p:extLst>
      <p:ext uri="{BB962C8B-B14F-4D97-AF65-F5344CB8AC3E}">
        <p14:creationId xmlns:p14="http://schemas.microsoft.com/office/powerpoint/2010/main" val="425125490"/>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Lst>
  <p:transition>
    <p:fade/>
  </p:transition>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92">
          <p15:clr>
            <a:srgbClr val="F26B43"/>
          </p15:clr>
        </p15:guide>
        <p15:guide id="4" orient="horz" pos="3912">
          <p15:clr>
            <a:srgbClr val="F26B43"/>
          </p15:clr>
        </p15:guide>
        <p15:guide id="5" pos="192">
          <p15:clr>
            <a:srgbClr val="F26B43"/>
          </p15:clr>
        </p15:guide>
        <p15:guide id="6" pos="7488">
          <p15:clr>
            <a:srgbClr val="F26B43"/>
          </p15:clr>
        </p15:guide>
        <p15:guide id="7" orient="horz" pos="93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6425" y="406043"/>
            <a:ext cx="9668256" cy="810381"/>
          </a:xfrm>
          <a:prstGeom prst="rect">
            <a:avLst/>
          </a:prstGeom>
        </p:spPr>
        <p:txBody>
          <a:bodyPr vert="horz" lIns="0" tIns="0" rIns="0" bIns="0" rtlCol="0" anchor="b" anchorCtr="0">
            <a:noAutofit/>
          </a:bodyPr>
          <a:lstStyle/>
          <a:p>
            <a:r>
              <a:rPr lang="en-US" noProof="0"/>
              <a:t>Click to edit Master title style</a:t>
            </a:r>
            <a:endParaRPr lang="en-GB" noProof="0"/>
          </a:p>
        </p:txBody>
      </p:sp>
      <p:sp>
        <p:nvSpPr>
          <p:cNvPr id="13" name="Line 9"/>
          <p:cNvSpPr>
            <a:spLocks noChangeShapeType="1"/>
          </p:cNvSpPr>
          <p:nvPr/>
        </p:nvSpPr>
        <p:spPr bwMode="auto">
          <a:xfrm>
            <a:off x="615950" y="1315219"/>
            <a:ext cx="10966449" cy="0"/>
          </a:xfrm>
          <a:prstGeom prst="line">
            <a:avLst/>
          </a:prstGeom>
          <a:noFill/>
          <a:ln w="57150" cmpd="sng">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30" name="TextBox 29"/>
          <p:cNvSpPr txBox="1"/>
          <p:nvPr/>
        </p:nvSpPr>
        <p:spPr>
          <a:xfrm>
            <a:off x="618308" y="6582195"/>
            <a:ext cx="2336800" cy="123860"/>
          </a:xfrm>
          <a:prstGeom prst="rect">
            <a:avLst/>
          </a:prstGeom>
        </p:spPr>
        <p:txBody>
          <a:bodyPr vert="horz" wrap="square" lIns="0" tIns="0" rIns="0" bIns="0" rtlCol="0" anchor="b" anchorCtr="0">
            <a:noAutofit/>
          </a:bodyPr>
          <a:lstStyle/>
          <a:p>
            <a:pPr marL="0" marR="0" indent="0" algn="l" defTabSz="1219139" rtl="0" eaLnBrk="1" fontAlgn="auto" latinLnBrk="0" hangingPunct="1">
              <a:lnSpc>
                <a:spcPct val="114000"/>
              </a:lnSpc>
              <a:spcBef>
                <a:spcPts val="0"/>
              </a:spcBef>
              <a:spcAft>
                <a:spcPts val="1067"/>
              </a:spcAft>
              <a:buClrTx/>
              <a:buSzTx/>
              <a:buFont typeface="Wingdings 3" pitchFamily="18" charset="2"/>
              <a:buNone/>
              <a:tabLst/>
            </a:pPr>
            <a:r>
              <a:rPr kumimoji="0" lang="en-GB" sz="800" b="1" i="0" u="none" strike="noStrike" kern="1200" cap="none" spc="0" normalizeH="0" baseline="0" noProof="0">
                <a:ln>
                  <a:noFill/>
                </a:ln>
                <a:solidFill>
                  <a:schemeClr val="tx1"/>
                </a:solidFill>
                <a:effectLst/>
                <a:uLnTx/>
                <a:uFillTx/>
                <a:latin typeface="Arial" pitchFamily="34" charset="0"/>
                <a:ea typeface="+mn-ea"/>
                <a:cs typeface="Arial" pitchFamily="34" charset="0"/>
              </a:rPr>
              <a:t>SES Proprietary and Confidential   |</a:t>
            </a:r>
          </a:p>
        </p:txBody>
      </p:sp>
      <p:sp>
        <p:nvSpPr>
          <p:cNvPr id="31" name="Line 9"/>
          <p:cNvSpPr>
            <a:spLocks noChangeShapeType="1"/>
          </p:cNvSpPr>
          <p:nvPr/>
        </p:nvSpPr>
        <p:spPr bwMode="auto">
          <a:xfrm>
            <a:off x="615033" y="6396871"/>
            <a:ext cx="10972800" cy="0"/>
          </a:xfrm>
          <a:prstGeom prst="line">
            <a:avLst/>
          </a:prstGeom>
          <a:noFill/>
          <a:ln w="6350" cmpd="sng">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GB" sz="1600" noProof="0">
              <a:solidFill>
                <a:srgbClr val="000000"/>
              </a:solidFill>
            </a:endParaRPr>
          </a:p>
        </p:txBody>
      </p:sp>
      <p:sp>
        <p:nvSpPr>
          <p:cNvPr id="32" name="Rectangle 5"/>
          <p:cNvSpPr>
            <a:spLocks noGrp="1" noChangeArrowheads="1"/>
          </p:cNvSpPr>
          <p:nvPr>
            <p:ph type="ftr" sz="quarter" idx="3"/>
          </p:nvPr>
        </p:nvSpPr>
        <p:spPr bwMode="auto">
          <a:xfrm>
            <a:off x="2397543" y="6551852"/>
            <a:ext cx="6720000" cy="14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spcBef>
                <a:spcPct val="0"/>
              </a:spcBef>
              <a:defRPr sz="800" b="0"/>
            </a:lvl1pPr>
          </a:lstStyle>
          <a:p>
            <a:pPr fontAlgn="base">
              <a:spcAft>
                <a:spcPct val="0"/>
              </a:spcAft>
            </a:pPr>
            <a:r>
              <a:rPr lang="en-GB">
                <a:solidFill>
                  <a:srgbClr val="000000"/>
                </a:solidFill>
              </a:rPr>
              <a:t>O3b mPOWER Status Update</a:t>
            </a:r>
          </a:p>
        </p:txBody>
      </p:sp>
      <p:sp>
        <p:nvSpPr>
          <p:cNvPr id="35" name="Date Placeholder 19"/>
          <p:cNvSpPr>
            <a:spLocks noGrp="1"/>
          </p:cNvSpPr>
          <p:nvPr>
            <p:ph type="dt" sz="half" idx="2"/>
          </p:nvPr>
        </p:nvSpPr>
        <p:spPr>
          <a:xfrm>
            <a:off x="9296229" y="6551852"/>
            <a:ext cx="1727996" cy="147112"/>
          </a:xfrm>
          <a:prstGeom prst="rect">
            <a:avLst/>
          </a:prstGeom>
        </p:spPr>
        <p:txBody>
          <a:bodyPr vert="horz" lIns="0" tIns="0" rIns="0" bIns="0" rtlCol="0" anchor="b" anchorCtr="0"/>
          <a:lstStyle>
            <a:lvl1pPr algn="r">
              <a:defRPr sz="800">
                <a:solidFill>
                  <a:schemeClr val="tx1"/>
                </a:solidFill>
              </a:defRPr>
            </a:lvl1pPr>
          </a:lstStyle>
          <a:p>
            <a:endParaRPr lang="en-GB"/>
          </a:p>
        </p:txBody>
      </p:sp>
      <p:sp>
        <p:nvSpPr>
          <p:cNvPr id="36" name="Rectangle 6"/>
          <p:cNvSpPr>
            <a:spLocks noGrp="1" noChangeArrowheads="1"/>
          </p:cNvSpPr>
          <p:nvPr>
            <p:ph type="sldNum" sz="quarter" idx="4"/>
          </p:nvPr>
        </p:nvSpPr>
        <p:spPr bwMode="auto">
          <a:xfrm>
            <a:off x="11032934" y="6537568"/>
            <a:ext cx="567703" cy="161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a:lvl1pPr>
          </a:lstStyle>
          <a:p>
            <a:pPr fontAlgn="base">
              <a:spcAft>
                <a:spcPct val="0"/>
              </a:spcAft>
            </a:pPr>
            <a:fld id="{DF5C34F6-00AF-4045-985A-3B429E0AF111}" type="slidenum">
              <a:rPr lang="en-GB" smtClean="0">
                <a:solidFill>
                  <a:srgbClr val="000000"/>
                </a:solidFill>
              </a:rPr>
              <a:pPr fontAlgn="base">
                <a:spcAft>
                  <a:spcPct val="0"/>
                </a:spcAft>
              </a:pPr>
              <a:t>‹#›</a:t>
            </a:fld>
            <a:endParaRPr lang="en-GB">
              <a:solidFill>
                <a:srgbClr val="000000"/>
              </a:solidFill>
            </a:endParaRPr>
          </a:p>
        </p:txBody>
      </p:sp>
      <p:pic>
        <p:nvPicPr>
          <p:cNvPr id="16" name="Picture 15"/>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rot="10800000" flipH="1" flipV="1">
            <a:off x="11035092" y="505288"/>
            <a:ext cx="734032" cy="336000"/>
          </a:xfrm>
          <a:prstGeom prst="rect">
            <a:avLst/>
          </a:prstGeom>
        </p:spPr>
      </p:pic>
    </p:spTree>
    <p:extLst>
      <p:ext uri="{BB962C8B-B14F-4D97-AF65-F5344CB8AC3E}">
        <p14:creationId xmlns:p14="http://schemas.microsoft.com/office/powerpoint/2010/main" val="344604792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39" rtl="0" eaLnBrk="1" latinLnBrk="0" hangingPunct="1">
        <a:lnSpc>
          <a:spcPct val="100000"/>
        </a:lnSpc>
        <a:spcBef>
          <a:spcPct val="0"/>
        </a:spcBef>
        <a:buNone/>
        <a:defRPr sz="2400" b="1" kern="1200" baseline="0">
          <a:solidFill>
            <a:schemeClr val="tx1"/>
          </a:solidFill>
          <a:latin typeface="+mj-lt"/>
          <a:ea typeface="+mj-ea"/>
          <a:cs typeface="+mj-cs"/>
        </a:defRPr>
      </a:lvl1pPr>
    </p:titleStyle>
    <p:bodyStyle>
      <a:lvl1pPr marL="335984" indent="-335984" algn="l" defTabSz="1219139" rtl="0" eaLnBrk="1" latinLnBrk="0" hangingPunct="1">
        <a:lnSpc>
          <a:spcPct val="114000"/>
        </a:lnSpc>
        <a:spcBef>
          <a:spcPts val="0"/>
        </a:spcBef>
        <a:spcAft>
          <a:spcPts val="1067"/>
        </a:spcAft>
        <a:buFont typeface="Wingdings 3" pitchFamily="18" charset="2"/>
        <a:buChar char=""/>
        <a:defRPr sz="2133" kern="1200">
          <a:solidFill>
            <a:schemeClr val="tx1"/>
          </a:solidFill>
          <a:latin typeface="Arial" pitchFamily="34" charset="0"/>
          <a:ea typeface="+mn-ea"/>
          <a:cs typeface="Arial" pitchFamily="34" charset="0"/>
        </a:defRPr>
      </a:lvl1pPr>
      <a:lvl2pPr marL="599970" indent="-241287" algn="l" defTabSz="1219139" rtl="0" eaLnBrk="1" latinLnBrk="0" hangingPunct="1">
        <a:lnSpc>
          <a:spcPct val="114000"/>
        </a:lnSpc>
        <a:spcBef>
          <a:spcPts val="0"/>
        </a:spcBef>
        <a:spcAft>
          <a:spcPts val="1067"/>
        </a:spcAft>
        <a:buSzPct val="100000"/>
        <a:buFont typeface="Arial" pitchFamily="34" charset="0"/>
        <a:buChar char="•"/>
        <a:defRPr sz="1867" b="0" kern="1200">
          <a:solidFill>
            <a:schemeClr val="tx1"/>
          </a:solidFill>
          <a:latin typeface="Arial" pitchFamily="34" charset="0"/>
          <a:ea typeface="+mn-ea"/>
          <a:cs typeface="Arial" pitchFamily="34" charset="0"/>
        </a:defRPr>
      </a:lvl2pPr>
      <a:lvl3pPr marL="839958" indent="-241287" algn="l" defTabSz="1219139" rtl="0" eaLnBrk="1" latinLnBrk="0" hangingPunct="1">
        <a:lnSpc>
          <a:spcPct val="114000"/>
        </a:lnSpc>
        <a:spcBef>
          <a:spcPts val="0"/>
        </a:spcBef>
        <a:spcAft>
          <a:spcPts val="1067"/>
        </a:spcAft>
        <a:buFont typeface="Verdana" pitchFamily="34" charset="0"/>
        <a:buChar char="-"/>
        <a:defRPr sz="1600" kern="1200">
          <a:solidFill>
            <a:schemeClr val="tx1"/>
          </a:solidFill>
          <a:latin typeface="Arial" pitchFamily="34" charset="0"/>
          <a:ea typeface="+mn-ea"/>
          <a:cs typeface="Arial" pitchFamily="34" charset="0"/>
        </a:defRPr>
      </a:lvl3pPr>
      <a:lvl4pPr marL="1103944" indent="-241287" algn="l" defTabSz="1219139" rtl="0" eaLnBrk="1" latinLnBrk="0" hangingPunct="1">
        <a:lnSpc>
          <a:spcPct val="114000"/>
        </a:lnSpc>
        <a:spcBef>
          <a:spcPts val="0"/>
        </a:spcBef>
        <a:spcAft>
          <a:spcPts val="1067"/>
        </a:spcAft>
        <a:buFont typeface="Calibri" pitchFamily="34" charset="0"/>
        <a:buChar char="-"/>
        <a:defRPr sz="1600" kern="1200">
          <a:solidFill>
            <a:schemeClr val="tx1"/>
          </a:solidFill>
          <a:latin typeface="Arial" pitchFamily="34" charset="0"/>
          <a:ea typeface="+mn-ea"/>
          <a:cs typeface="Arial" pitchFamily="34" charset="0"/>
        </a:defRPr>
      </a:lvl4pPr>
      <a:lvl5pPr marL="1343933" indent="-239173" algn="l" defTabSz="1219139" rtl="0" eaLnBrk="1" latinLnBrk="0" hangingPunct="1">
        <a:lnSpc>
          <a:spcPct val="114000"/>
        </a:lnSpc>
        <a:spcBef>
          <a:spcPts val="0"/>
        </a:spcBef>
        <a:spcAft>
          <a:spcPts val="1067"/>
        </a:spcAft>
        <a:buFont typeface="Calibri" pitchFamily="34" charset="0"/>
        <a:buChar char="-"/>
        <a:defRPr sz="1600" kern="1200">
          <a:solidFill>
            <a:schemeClr val="tx1"/>
          </a:solidFill>
          <a:latin typeface="Arial" pitchFamily="34" charset="0"/>
          <a:ea typeface="+mn-ea"/>
          <a:cs typeface="Arial" pitchFamily="34" charset="0"/>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75">
          <p15:clr>
            <a:srgbClr val="F26B43"/>
          </p15:clr>
        </p15:guide>
        <p15:guide id="4" pos="291">
          <p15:clr>
            <a:srgbClr val="F26B43"/>
          </p15:clr>
        </p15:guide>
        <p15:guide id="8" orient="horz" pos="542">
          <p15:clr>
            <a:srgbClr val="F26B43"/>
          </p15:clr>
        </p15:guide>
        <p15:guide id="10" orient="horz" pos="758">
          <p15:clr>
            <a:srgbClr val="F26B43"/>
          </p15:clr>
        </p15:guide>
        <p15:guide id="12" orient="horz" pos="2958">
          <p15:clr>
            <a:srgbClr val="F26B43"/>
          </p15:clr>
        </p15:guide>
        <p15:guide id="13" pos="2880">
          <p15:clr>
            <a:srgbClr val="F26B43"/>
          </p15:clr>
        </p15:guide>
        <p15:guide id="14" pos="2993">
          <p15:clr>
            <a:srgbClr val="F26B43"/>
          </p15:clr>
        </p15:guide>
        <p15:guide id="15" pos="27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042C86-96FB-D4CE-3253-5FC760A1DE60}"/>
              </a:ext>
            </a:extLst>
          </p:cNvPr>
          <p:cNvSpPr>
            <a:spLocks noGrp="1"/>
          </p:cNvSpPr>
          <p:nvPr>
            <p:ph type="title"/>
          </p:nvPr>
        </p:nvSpPr>
        <p:spPr>
          <a:xfrm>
            <a:off x="539999" y="554587"/>
            <a:ext cx="9204075" cy="304252"/>
          </a:xfrm>
          <a:prstGeom prst="rect">
            <a:avLst/>
          </a:prstGeom>
        </p:spPr>
        <p:txBody>
          <a:bodyPr vert="horz" lIns="0" tIns="0" rIns="0" bIns="0" rtlCol="0" anchor="t" anchorCtr="0">
            <a:noAutofit/>
          </a:bodyPr>
          <a:lstStyle/>
          <a:p>
            <a:r>
              <a:rPr lang="en-US"/>
              <a:t>Click to edit Master title style</a:t>
            </a:r>
            <a:endParaRPr lang="nl-NL" dirty="0"/>
          </a:p>
        </p:txBody>
      </p:sp>
      <p:sp>
        <p:nvSpPr>
          <p:cNvPr id="3" name="Text Placeholder 2">
            <a:extLst>
              <a:ext uri="{FF2B5EF4-FFF2-40B4-BE49-F238E27FC236}">
                <a16:creationId xmlns:a16="http://schemas.microsoft.com/office/drawing/2014/main" id="{A72257FD-86BE-1A81-AF93-868AFA565B13}"/>
              </a:ext>
            </a:extLst>
          </p:cNvPr>
          <p:cNvSpPr>
            <a:spLocks noGrp="1"/>
          </p:cNvSpPr>
          <p:nvPr>
            <p:ph type="body" idx="1"/>
          </p:nvPr>
        </p:nvSpPr>
        <p:spPr>
          <a:xfrm>
            <a:off x="540000" y="1709999"/>
            <a:ext cx="9527926" cy="4521589"/>
          </a:xfrm>
          <a:prstGeom prst="rect">
            <a:avLst/>
          </a:prstGeom>
        </p:spPr>
        <p:txBody>
          <a:bodyPr vert="horz" lIns="0" tIns="0" rIns="0" bIns="0" rtlCol="0">
            <a:noAutofit/>
          </a:bodyPr>
          <a:lstStyle/>
          <a:p>
            <a:r>
              <a:rPr lang="en-GB" b="1" dirty="0">
                <a:solidFill>
                  <a:srgbClr val="5E4A9C"/>
                </a:solidFill>
                <a:effectLst/>
                <a:latin typeface="Aptos" panose="020B0004020202020204" pitchFamily="34" charset="0"/>
              </a:rPr>
              <a:t>Section Header (First level text): Aptos</a:t>
            </a:r>
            <a:endParaRPr lang="en-GB" dirty="0">
              <a:solidFill>
                <a:srgbClr val="5E4A9C"/>
              </a:solidFill>
              <a:effectLst/>
              <a:latin typeface="Aptos" panose="020B0004020202020204" pitchFamily="34" charset="0"/>
            </a:endParaRPr>
          </a:p>
          <a:p>
            <a:pPr lvl="1"/>
            <a:r>
              <a:rPr lang="en-GB" dirty="0"/>
              <a:t>Second level text: Aptos. Tip: Use “Indent” buttons in ribbon to style different text levels.</a:t>
            </a:r>
          </a:p>
          <a:p>
            <a:pPr lvl="2"/>
            <a:r>
              <a:rPr lang="en-GB" dirty="0"/>
              <a:t>Third level text (primary bullet style): Aptos.</a:t>
            </a:r>
          </a:p>
          <a:p>
            <a:pPr lvl="3"/>
            <a:r>
              <a:rPr lang="en-GB" dirty="0"/>
              <a:t>Fourth level text (secondary bullet style): Aptos.</a:t>
            </a:r>
          </a:p>
          <a:p>
            <a:pPr lvl="4"/>
            <a:r>
              <a:rPr lang="en-GB" dirty="0"/>
              <a:t>Fifth level text (tertiary bullet style): Aptos.</a:t>
            </a:r>
            <a:endParaRPr lang="nl-NL" dirty="0"/>
          </a:p>
        </p:txBody>
      </p:sp>
      <p:sp>
        <p:nvSpPr>
          <p:cNvPr id="4" name="Date Placeholder 3">
            <a:extLst>
              <a:ext uri="{FF2B5EF4-FFF2-40B4-BE49-F238E27FC236}">
                <a16:creationId xmlns:a16="http://schemas.microsoft.com/office/drawing/2014/main" id="{24219F2C-DF56-BDC5-3C55-7E55ABAA6F1F}"/>
              </a:ext>
            </a:extLst>
          </p:cNvPr>
          <p:cNvSpPr>
            <a:spLocks noGrp="1"/>
          </p:cNvSpPr>
          <p:nvPr>
            <p:ph type="dt" sz="half" idx="2"/>
          </p:nvPr>
        </p:nvSpPr>
        <p:spPr>
          <a:xfrm>
            <a:off x="4355524" y="6408000"/>
            <a:ext cx="3483551" cy="144000"/>
          </a:xfrm>
          <a:prstGeom prst="rect">
            <a:avLst/>
          </a:prstGeom>
        </p:spPr>
        <p:txBody>
          <a:bodyPr vert="horz" lIns="0" tIns="0" rIns="0" bIns="0" rtlCol="0" anchor="t">
            <a:noAutofit/>
          </a:bodyPr>
          <a:lstStyle>
            <a:lvl1pPr algn="ctr">
              <a:defRPr sz="800">
                <a:solidFill>
                  <a:schemeClr val="tx1"/>
                </a:solidFill>
              </a:defRPr>
            </a:lvl1pPr>
          </a:lstStyle>
          <a:p>
            <a:fld id="{BEB22B47-D53E-4036-966D-BBC0284ADB56}" type="datetimeFigureOut">
              <a:rPr lang="en-US" smtClean="0"/>
              <a:t>3/13/26</a:t>
            </a:fld>
            <a:endParaRPr lang="en-US"/>
          </a:p>
        </p:txBody>
      </p:sp>
      <p:sp>
        <p:nvSpPr>
          <p:cNvPr id="5" name="Footer Placeholder 4">
            <a:extLst>
              <a:ext uri="{FF2B5EF4-FFF2-40B4-BE49-F238E27FC236}">
                <a16:creationId xmlns:a16="http://schemas.microsoft.com/office/drawing/2014/main" id="{4E8D7563-7A39-C456-DDAE-578C0DD6C3CE}"/>
              </a:ext>
            </a:extLst>
          </p:cNvPr>
          <p:cNvSpPr>
            <a:spLocks noGrp="1"/>
          </p:cNvSpPr>
          <p:nvPr>
            <p:ph type="ftr" sz="quarter" idx="3"/>
          </p:nvPr>
        </p:nvSpPr>
        <p:spPr>
          <a:xfrm>
            <a:off x="8165523" y="6408000"/>
            <a:ext cx="3483552" cy="144000"/>
          </a:xfrm>
          <a:prstGeom prst="rect">
            <a:avLst/>
          </a:prstGeom>
        </p:spPr>
        <p:txBody>
          <a:bodyPr vert="horz" lIns="0" tIns="0" rIns="0" bIns="0" rtlCol="0" anchor="t">
            <a:noAutofit/>
          </a:bodyPr>
          <a:lstStyle>
            <a:lvl1pPr algn="r">
              <a:defRPr sz="8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817BE989-15B0-FCAB-4E55-328B0BE02FEB}"/>
              </a:ext>
            </a:extLst>
          </p:cNvPr>
          <p:cNvSpPr>
            <a:spLocks noGrp="1"/>
          </p:cNvSpPr>
          <p:nvPr>
            <p:ph type="sldNum" sz="quarter" idx="4"/>
          </p:nvPr>
        </p:nvSpPr>
        <p:spPr>
          <a:xfrm>
            <a:off x="540000" y="6408000"/>
            <a:ext cx="250575" cy="144000"/>
          </a:xfrm>
          <a:prstGeom prst="rect">
            <a:avLst/>
          </a:prstGeom>
        </p:spPr>
        <p:txBody>
          <a:bodyPr vert="horz" lIns="0" tIns="0" rIns="0" bIns="0" rtlCol="0" anchor="t">
            <a:noAutofit/>
          </a:bodyPr>
          <a:lstStyle>
            <a:lvl1pPr algn="l">
              <a:defRPr sz="800" b="1" baseline="0">
                <a:solidFill>
                  <a:schemeClr val="tx1"/>
                </a:solidFill>
              </a:defRPr>
            </a:lvl1pPr>
          </a:lstStyle>
          <a:p>
            <a:fld id="{CAD289FC-94DA-414F-BF09-0C2EF808B77F}" type="slidenum">
              <a:rPr lang="en-US" smtClean="0"/>
              <a:t>‹#›</a:t>
            </a:fld>
            <a:endParaRPr lang="en-US"/>
          </a:p>
        </p:txBody>
      </p:sp>
      <p:sp>
        <p:nvSpPr>
          <p:cNvPr id="11" name="TextBox 10">
            <a:extLst>
              <a:ext uri="{FF2B5EF4-FFF2-40B4-BE49-F238E27FC236}">
                <a16:creationId xmlns:a16="http://schemas.microsoft.com/office/drawing/2014/main" id="{58015113-F1FB-9794-1646-636F1FBC43E8}"/>
              </a:ext>
            </a:extLst>
          </p:cNvPr>
          <p:cNvSpPr txBox="1"/>
          <p:nvPr/>
        </p:nvSpPr>
        <p:spPr>
          <a:xfrm>
            <a:off x="900000" y="6408000"/>
            <a:ext cx="2518840" cy="144000"/>
          </a:xfrm>
          <a:prstGeom prst="rect">
            <a:avLst/>
          </a:prstGeom>
          <a:noFill/>
        </p:spPr>
        <p:txBody>
          <a:bodyPr wrap="square" lIns="0" tIns="0" rIns="0" bIns="0" anchor="t" anchorCtr="0">
            <a:noAutofit/>
          </a:bodyPr>
          <a:lstStyle/>
          <a:p>
            <a:r>
              <a:rPr kumimoji="0" lang="en-GB" sz="800" b="0" i="0" u="none" strike="noStrike" kern="1200" cap="none" spc="0" normalizeH="0" baseline="0" noProof="0" dirty="0">
                <a:ln>
                  <a:noFill/>
                </a:ln>
                <a:solidFill>
                  <a:srgbClr val="000000"/>
                </a:solidFill>
                <a:effectLst/>
                <a:uLnTx/>
                <a:uFillTx/>
                <a:latin typeface="Aptos Regular"/>
                <a:ea typeface="+mn-ea"/>
                <a:cs typeface="+mn-cs"/>
              </a:rPr>
              <a:t>SES Space &amp; Defense Proprietary and Confidential</a:t>
            </a:r>
            <a:endParaRPr lang="en-GB" sz="800" dirty="0"/>
          </a:p>
        </p:txBody>
      </p:sp>
      <p:cxnSp>
        <p:nvCxnSpPr>
          <p:cNvPr id="13" name="Straight Connector 12">
            <a:extLst>
              <a:ext uri="{FF2B5EF4-FFF2-40B4-BE49-F238E27FC236}">
                <a16:creationId xmlns:a16="http://schemas.microsoft.com/office/drawing/2014/main" id="{07336420-B5DC-C15C-B089-5529363AC912}"/>
              </a:ext>
            </a:extLst>
          </p:cNvPr>
          <p:cNvCxnSpPr>
            <a:cxnSpLocks/>
          </p:cNvCxnSpPr>
          <p:nvPr/>
        </p:nvCxnSpPr>
        <p:spPr>
          <a:xfrm flipH="1">
            <a:off x="-828000" y="17028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AE06001-80C1-D035-B9AE-17678EA999A2}"/>
              </a:ext>
            </a:extLst>
          </p:cNvPr>
          <p:cNvCxnSpPr>
            <a:cxnSpLocks/>
          </p:cNvCxnSpPr>
          <p:nvPr/>
        </p:nvCxnSpPr>
        <p:spPr>
          <a:xfrm flipH="1">
            <a:off x="-828000" y="6231600"/>
            <a:ext cx="720000" cy="0"/>
          </a:xfrm>
          <a:prstGeom prst="line">
            <a:avLst/>
          </a:prstGeom>
          <a:ln w="9525">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76" name="Group 75">
            <a:extLst>
              <a:ext uri="{FF2B5EF4-FFF2-40B4-BE49-F238E27FC236}">
                <a16:creationId xmlns:a16="http://schemas.microsoft.com/office/drawing/2014/main" id="{8A638EE7-2F1C-C52F-9D4B-C7BE17B82918}"/>
              </a:ext>
            </a:extLst>
          </p:cNvPr>
          <p:cNvGrpSpPr/>
          <p:nvPr/>
        </p:nvGrpSpPr>
        <p:grpSpPr>
          <a:xfrm>
            <a:off x="10312009" y="358805"/>
            <a:ext cx="1478530" cy="312146"/>
            <a:chOff x="10312009" y="358805"/>
            <a:chExt cx="1478530" cy="312146"/>
          </a:xfrm>
        </p:grpSpPr>
        <p:grpSp>
          <p:nvGrpSpPr>
            <p:cNvPr id="48" name="Graphic 11">
              <a:extLst>
                <a:ext uri="{FF2B5EF4-FFF2-40B4-BE49-F238E27FC236}">
                  <a16:creationId xmlns:a16="http://schemas.microsoft.com/office/drawing/2014/main" id="{6ABD3B43-DF1C-24AE-FFE9-EFB3BFC5761D}"/>
                </a:ext>
              </a:extLst>
            </p:cNvPr>
            <p:cNvGrpSpPr/>
            <p:nvPr/>
          </p:nvGrpSpPr>
          <p:grpSpPr>
            <a:xfrm>
              <a:off x="10312009" y="358805"/>
              <a:ext cx="973443" cy="312146"/>
              <a:chOff x="10312009" y="358805"/>
              <a:chExt cx="973443" cy="312146"/>
            </a:xfrm>
          </p:grpSpPr>
          <p:grpSp>
            <p:nvGrpSpPr>
              <p:cNvPr id="49" name="Graphic 11">
                <a:extLst>
                  <a:ext uri="{FF2B5EF4-FFF2-40B4-BE49-F238E27FC236}">
                    <a16:creationId xmlns:a16="http://schemas.microsoft.com/office/drawing/2014/main" id="{E00B27A9-11A7-9487-49D9-090BE8349364}"/>
                  </a:ext>
                </a:extLst>
              </p:cNvPr>
              <p:cNvGrpSpPr/>
              <p:nvPr/>
            </p:nvGrpSpPr>
            <p:grpSpPr>
              <a:xfrm>
                <a:off x="10717609" y="404559"/>
                <a:ext cx="567842" cy="212340"/>
                <a:chOff x="10717609" y="404559"/>
                <a:chExt cx="567842" cy="212340"/>
              </a:xfrm>
              <a:solidFill>
                <a:srgbClr val="30087B"/>
              </a:solidFill>
            </p:grpSpPr>
            <p:sp>
              <p:nvSpPr>
                <p:cNvPr id="50" name="Freeform: Shape 49">
                  <a:extLst>
                    <a:ext uri="{FF2B5EF4-FFF2-40B4-BE49-F238E27FC236}">
                      <a16:creationId xmlns:a16="http://schemas.microsoft.com/office/drawing/2014/main" id="{B98908CB-C981-A7CE-84F9-38B8A35B0E09}"/>
                    </a:ext>
                  </a:extLst>
                </p:cNvPr>
                <p:cNvSpPr/>
                <p:nvPr/>
              </p:nvSpPr>
              <p:spPr>
                <a:xfrm>
                  <a:off x="10717609" y="408894"/>
                  <a:ext cx="199499" cy="208005"/>
                </a:xfrm>
                <a:custGeom>
                  <a:avLst/>
                  <a:gdLst>
                    <a:gd name="connsiteX0" fmla="*/ 109941 w 199499"/>
                    <a:gd name="connsiteY0" fmla="*/ 46705 h 208005"/>
                    <a:gd name="connsiteX1" fmla="*/ 184252 w 199499"/>
                    <a:gd name="connsiteY1" fmla="*/ 45902 h 208005"/>
                    <a:gd name="connsiteX2" fmla="*/ 199499 w 199499"/>
                    <a:gd name="connsiteY2" fmla="*/ 0 h 208005"/>
                    <a:gd name="connsiteX3" fmla="*/ 108176 w 199499"/>
                    <a:gd name="connsiteY3" fmla="*/ 0 h 208005"/>
                    <a:gd name="connsiteX4" fmla="*/ 38038 w 199499"/>
                    <a:gd name="connsiteY4" fmla="*/ 30976 h 208005"/>
                    <a:gd name="connsiteX5" fmla="*/ 26482 w 199499"/>
                    <a:gd name="connsiteY5" fmla="*/ 66125 h 208005"/>
                    <a:gd name="connsiteX6" fmla="*/ 50236 w 199499"/>
                    <a:gd name="connsiteY6" fmla="*/ 106731 h 208005"/>
                    <a:gd name="connsiteX7" fmla="*/ 109460 w 199499"/>
                    <a:gd name="connsiteY7" fmla="*/ 127757 h 208005"/>
                    <a:gd name="connsiteX8" fmla="*/ 124547 w 199499"/>
                    <a:gd name="connsiteY8" fmla="*/ 146695 h 208005"/>
                    <a:gd name="connsiteX9" fmla="*/ 97904 w 199499"/>
                    <a:gd name="connsiteY9" fmla="*/ 161301 h 208005"/>
                    <a:gd name="connsiteX10" fmla="*/ 15568 w 199499"/>
                    <a:gd name="connsiteY10" fmla="*/ 161301 h 208005"/>
                    <a:gd name="connsiteX11" fmla="*/ 0 w 199499"/>
                    <a:gd name="connsiteY11" fmla="*/ 208006 h 208005"/>
                    <a:gd name="connsiteX12" fmla="*/ 100953 w 199499"/>
                    <a:gd name="connsiteY12" fmla="*/ 208006 h 208005"/>
                    <a:gd name="connsiteX13" fmla="*/ 172054 w 199499"/>
                    <a:gd name="connsiteY13" fmla="*/ 175264 h 208005"/>
                    <a:gd name="connsiteX14" fmla="*/ 182968 w 199499"/>
                    <a:gd name="connsiteY14" fmla="*/ 137547 h 208005"/>
                    <a:gd name="connsiteX15" fmla="*/ 143646 w 199499"/>
                    <a:gd name="connsiteY15" fmla="*/ 88114 h 208005"/>
                    <a:gd name="connsiteX16" fmla="*/ 98225 w 199499"/>
                    <a:gd name="connsiteY16" fmla="*/ 76237 h 208005"/>
                    <a:gd name="connsiteX17" fmla="*/ 85064 w 199499"/>
                    <a:gd name="connsiteY17" fmla="*/ 59384 h 208005"/>
                    <a:gd name="connsiteX18" fmla="*/ 109781 w 199499"/>
                    <a:gd name="connsiteY18" fmla="*/ 46705 h 20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499" h="208005">
                      <a:moveTo>
                        <a:pt x="109941" y="46705"/>
                      </a:moveTo>
                      <a:cubicBezTo>
                        <a:pt x="131448" y="46705"/>
                        <a:pt x="184252" y="45902"/>
                        <a:pt x="184252" y="45902"/>
                      </a:cubicBezTo>
                      <a:lnTo>
                        <a:pt x="199499" y="0"/>
                      </a:lnTo>
                      <a:lnTo>
                        <a:pt x="108176" y="0"/>
                      </a:lnTo>
                      <a:cubicBezTo>
                        <a:pt x="65644" y="0"/>
                        <a:pt x="45742" y="21025"/>
                        <a:pt x="38038" y="30976"/>
                      </a:cubicBezTo>
                      <a:cubicBezTo>
                        <a:pt x="30334" y="40927"/>
                        <a:pt x="26322" y="52804"/>
                        <a:pt x="26482" y="66125"/>
                      </a:cubicBezTo>
                      <a:cubicBezTo>
                        <a:pt x="26482" y="84422"/>
                        <a:pt x="36273" y="98225"/>
                        <a:pt x="50236" y="106731"/>
                      </a:cubicBezTo>
                      <a:cubicBezTo>
                        <a:pt x="61150" y="113472"/>
                        <a:pt x="97904" y="124547"/>
                        <a:pt x="109460" y="127757"/>
                      </a:cubicBezTo>
                      <a:cubicBezTo>
                        <a:pt x="121497" y="131288"/>
                        <a:pt x="125991" y="138670"/>
                        <a:pt x="124547" y="146695"/>
                      </a:cubicBezTo>
                      <a:cubicBezTo>
                        <a:pt x="123102" y="154720"/>
                        <a:pt x="112670" y="161301"/>
                        <a:pt x="97904" y="161301"/>
                      </a:cubicBezTo>
                      <a:lnTo>
                        <a:pt x="15568" y="161301"/>
                      </a:lnTo>
                      <a:lnTo>
                        <a:pt x="0" y="208006"/>
                      </a:lnTo>
                      <a:lnTo>
                        <a:pt x="100953" y="208006"/>
                      </a:lnTo>
                      <a:cubicBezTo>
                        <a:pt x="145893" y="208006"/>
                        <a:pt x="165313" y="185857"/>
                        <a:pt x="172054" y="175264"/>
                      </a:cubicBezTo>
                      <a:cubicBezTo>
                        <a:pt x="179437" y="163708"/>
                        <a:pt x="182968" y="150868"/>
                        <a:pt x="182968" y="137547"/>
                      </a:cubicBezTo>
                      <a:cubicBezTo>
                        <a:pt x="182968" y="114756"/>
                        <a:pt x="167239" y="95175"/>
                        <a:pt x="143646" y="88114"/>
                      </a:cubicBezTo>
                      <a:cubicBezTo>
                        <a:pt x="135782" y="85706"/>
                        <a:pt x="108015" y="78644"/>
                        <a:pt x="98225" y="76237"/>
                      </a:cubicBezTo>
                      <a:cubicBezTo>
                        <a:pt x="89237" y="73990"/>
                        <a:pt x="83620" y="67088"/>
                        <a:pt x="85064" y="59384"/>
                      </a:cubicBezTo>
                      <a:cubicBezTo>
                        <a:pt x="86669" y="51038"/>
                        <a:pt x="93570" y="46705"/>
                        <a:pt x="109781" y="46705"/>
                      </a:cubicBezTo>
                      <a:close/>
                    </a:path>
                  </a:pathLst>
                </a:custGeom>
                <a:solidFill>
                  <a:srgbClr val="30087B"/>
                </a:solidFill>
                <a:ln w="1598"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22E2CA2-8D39-28C7-9635-8295384F1E27}"/>
                    </a:ext>
                  </a:extLst>
                </p:cNvPr>
                <p:cNvSpPr/>
                <p:nvPr/>
              </p:nvSpPr>
              <p:spPr>
                <a:xfrm>
                  <a:off x="11085953" y="408894"/>
                  <a:ext cx="199499" cy="208005"/>
                </a:xfrm>
                <a:custGeom>
                  <a:avLst/>
                  <a:gdLst>
                    <a:gd name="connsiteX0" fmla="*/ 109941 w 199499"/>
                    <a:gd name="connsiteY0" fmla="*/ 46705 h 208005"/>
                    <a:gd name="connsiteX1" fmla="*/ 184252 w 199499"/>
                    <a:gd name="connsiteY1" fmla="*/ 45902 h 208005"/>
                    <a:gd name="connsiteX2" fmla="*/ 199499 w 199499"/>
                    <a:gd name="connsiteY2" fmla="*/ 0 h 208005"/>
                    <a:gd name="connsiteX3" fmla="*/ 108176 w 199499"/>
                    <a:gd name="connsiteY3" fmla="*/ 0 h 208005"/>
                    <a:gd name="connsiteX4" fmla="*/ 38038 w 199499"/>
                    <a:gd name="connsiteY4" fmla="*/ 30976 h 208005"/>
                    <a:gd name="connsiteX5" fmla="*/ 26482 w 199499"/>
                    <a:gd name="connsiteY5" fmla="*/ 66125 h 208005"/>
                    <a:gd name="connsiteX6" fmla="*/ 50236 w 199499"/>
                    <a:gd name="connsiteY6" fmla="*/ 106731 h 208005"/>
                    <a:gd name="connsiteX7" fmla="*/ 109460 w 199499"/>
                    <a:gd name="connsiteY7" fmla="*/ 127757 h 208005"/>
                    <a:gd name="connsiteX8" fmla="*/ 124547 w 199499"/>
                    <a:gd name="connsiteY8" fmla="*/ 146695 h 208005"/>
                    <a:gd name="connsiteX9" fmla="*/ 97904 w 199499"/>
                    <a:gd name="connsiteY9" fmla="*/ 161301 h 208005"/>
                    <a:gd name="connsiteX10" fmla="*/ 15568 w 199499"/>
                    <a:gd name="connsiteY10" fmla="*/ 161301 h 208005"/>
                    <a:gd name="connsiteX11" fmla="*/ 0 w 199499"/>
                    <a:gd name="connsiteY11" fmla="*/ 208006 h 208005"/>
                    <a:gd name="connsiteX12" fmla="*/ 100953 w 199499"/>
                    <a:gd name="connsiteY12" fmla="*/ 208006 h 208005"/>
                    <a:gd name="connsiteX13" fmla="*/ 172054 w 199499"/>
                    <a:gd name="connsiteY13" fmla="*/ 175264 h 208005"/>
                    <a:gd name="connsiteX14" fmla="*/ 182968 w 199499"/>
                    <a:gd name="connsiteY14" fmla="*/ 137547 h 208005"/>
                    <a:gd name="connsiteX15" fmla="*/ 143646 w 199499"/>
                    <a:gd name="connsiteY15" fmla="*/ 88114 h 208005"/>
                    <a:gd name="connsiteX16" fmla="*/ 98225 w 199499"/>
                    <a:gd name="connsiteY16" fmla="*/ 76237 h 208005"/>
                    <a:gd name="connsiteX17" fmla="*/ 85064 w 199499"/>
                    <a:gd name="connsiteY17" fmla="*/ 59384 h 208005"/>
                    <a:gd name="connsiteX18" fmla="*/ 109781 w 199499"/>
                    <a:gd name="connsiteY18" fmla="*/ 46705 h 20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499" h="208005">
                      <a:moveTo>
                        <a:pt x="109941" y="46705"/>
                      </a:moveTo>
                      <a:cubicBezTo>
                        <a:pt x="131448" y="46705"/>
                        <a:pt x="184252" y="45902"/>
                        <a:pt x="184252" y="45902"/>
                      </a:cubicBezTo>
                      <a:lnTo>
                        <a:pt x="199499" y="0"/>
                      </a:lnTo>
                      <a:lnTo>
                        <a:pt x="108176" y="0"/>
                      </a:lnTo>
                      <a:cubicBezTo>
                        <a:pt x="65644" y="0"/>
                        <a:pt x="45742" y="21025"/>
                        <a:pt x="38038" y="30976"/>
                      </a:cubicBezTo>
                      <a:cubicBezTo>
                        <a:pt x="30334" y="40927"/>
                        <a:pt x="26322" y="52804"/>
                        <a:pt x="26482" y="66125"/>
                      </a:cubicBezTo>
                      <a:cubicBezTo>
                        <a:pt x="26482" y="84422"/>
                        <a:pt x="36273" y="98225"/>
                        <a:pt x="50236" y="106731"/>
                      </a:cubicBezTo>
                      <a:cubicBezTo>
                        <a:pt x="61150" y="113472"/>
                        <a:pt x="97904" y="124547"/>
                        <a:pt x="109460" y="127757"/>
                      </a:cubicBezTo>
                      <a:cubicBezTo>
                        <a:pt x="121497" y="131288"/>
                        <a:pt x="125991" y="138670"/>
                        <a:pt x="124547" y="146695"/>
                      </a:cubicBezTo>
                      <a:cubicBezTo>
                        <a:pt x="122781" y="156325"/>
                        <a:pt x="112670" y="161301"/>
                        <a:pt x="97904" y="161301"/>
                      </a:cubicBezTo>
                      <a:lnTo>
                        <a:pt x="15568" y="161301"/>
                      </a:lnTo>
                      <a:lnTo>
                        <a:pt x="0" y="208006"/>
                      </a:lnTo>
                      <a:lnTo>
                        <a:pt x="100953" y="208006"/>
                      </a:lnTo>
                      <a:cubicBezTo>
                        <a:pt x="145893" y="208006"/>
                        <a:pt x="165313" y="185857"/>
                        <a:pt x="172054" y="175264"/>
                      </a:cubicBezTo>
                      <a:cubicBezTo>
                        <a:pt x="179437" y="163708"/>
                        <a:pt x="182968" y="150868"/>
                        <a:pt x="182968" y="137547"/>
                      </a:cubicBezTo>
                      <a:cubicBezTo>
                        <a:pt x="182968" y="114756"/>
                        <a:pt x="167239" y="95175"/>
                        <a:pt x="143646" y="88114"/>
                      </a:cubicBezTo>
                      <a:cubicBezTo>
                        <a:pt x="135782" y="85706"/>
                        <a:pt x="108015" y="78644"/>
                        <a:pt x="98225" y="76237"/>
                      </a:cubicBezTo>
                      <a:cubicBezTo>
                        <a:pt x="89237" y="73990"/>
                        <a:pt x="83620" y="67088"/>
                        <a:pt x="85064" y="59384"/>
                      </a:cubicBezTo>
                      <a:cubicBezTo>
                        <a:pt x="86669" y="51038"/>
                        <a:pt x="93570" y="46705"/>
                        <a:pt x="109781" y="46705"/>
                      </a:cubicBezTo>
                      <a:close/>
                    </a:path>
                  </a:pathLst>
                </a:custGeom>
                <a:solidFill>
                  <a:srgbClr val="30087B"/>
                </a:solidFill>
                <a:ln w="1598"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65763403-514B-54F8-B434-46AB927CB3AD}"/>
                    </a:ext>
                  </a:extLst>
                </p:cNvPr>
                <p:cNvSpPr/>
                <p:nvPr/>
              </p:nvSpPr>
              <p:spPr>
                <a:xfrm>
                  <a:off x="10907955" y="404559"/>
                  <a:ext cx="195109" cy="212340"/>
                </a:xfrm>
                <a:custGeom>
                  <a:avLst/>
                  <a:gdLst>
                    <a:gd name="connsiteX0" fmla="*/ 102885 w 195109"/>
                    <a:gd name="connsiteY0" fmla="*/ 212341 h 212340"/>
                    <a:gd name="connsiteX1" fmla="*/ 5 w 195109"/>
                    <a:gd name="connsiteY1" fmla="*/ 120054 h 212340"/>
                    <a:gd name="connsiteX2" fmla="*/ 34833 w 195109"/>
                    <a:gd name="connsiteY2" fmla="*/ 33546 h 212340"/>
                    <a:gd name="connsiteX3" fmla="*/ 121663 w 195109"/>
                    <a:gd name="connsiteY3" fmla="*/ 1 h 212340"/>
                    <a:gd name="connsiteX4" fmla="*/ 186825 w 195109"/>
                    <a:gd name="connsiteY4" fmla="*/ 29212 h 212340"/>
                    <a:gd name="connsiteX5" fmla="*/ 171578 w 195109"/>
                    <a:gd name="connsiteY5" fmla="*/ 108980 h 212340"/>
                    <a:gd name="connsiteX6" fmla="*/ 101761 w 195109"/>
                    <a:gd name="connsiteY6" fmla="*/ 139314 h 212340"/>
                    <a:gd name="connsiteX7" fmla="*/ 62279 w 195109"/>
                    <a:gd name="connsiteY7" fmla="*/ 144289 h 212340"/>
                    <a:gd name="connsiteX8" fmla="*/ 112836 w 195109"/>
                    <a:gd name="connsiteY8" fmla="*/ 165475 h 212340"/>
                    <a:gd name="connsiteX9" fmla="*/ 178800 w 195109"/>
                    <a:gd name="connsiteY9" fmla="*/ 165475 h 212340"/>
                    <a:gd name="connsiteX10" fmla="*/ 163232 w 195109"/>
                    <a:gd name="connsiteY10" fmla="*/ 212180 h 212340"/>
                    <a:gd name="connsiteX11" fmla="*/ 103045 w 195109"/>
                    <a:gd name="connsiteY11" fmla="*/ 212180 h 212340"/>
                    <a:gd name="connsiteX12" fmla="*/ 56982 w 195109"/>
                    <a:gd name="connsiteY12" fmla="*/ 105770 h 212340"/>
                    <a:gd name="connsiteX13" fmla="*/ 77526 w 195109"/>
                    <a:gd name="connsiteY13" fmla="*/ 102881 h 212340"/>
                    <a:gd name="connsiteX14" fmla="*/ 134342 w 195109"/>
                    <a:gd name="connsiteY14" fmla="*/ 76399 h 212340"/>
                    <a:gd name="connsiteX15" fmla="*/ 131774 w 195109"/>
                    <a:gd name="connsiteY15" fmla="*/ 53287 h 212340"/>
                    <a:gd name="connsiteX16" fmla="*/ 78489 w 195109"/>
                    <a:gd name="connsiteY16" fmla="*/ 62435 h 212340"/>
                    <a:gd name="connsiteX17" fmla="*/ 57143 w 195109"/>
                    <a:gd name="connsiteY17" fmla="*/ 106091 h 21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109" h="212340">
                      <a:moveTo>
                        <a:pt x="102885" y="212341"/>
                      </a:moveTo>
                      <a:cubicBezTo>
                        <a:pt x="36759" y="208649"/>
                        <a:pt x="647" y="181685"/>
                        <a:pt x="5" y="120054"/>
                      </a:cubicBezTo>
                      <a:cubicBezTo>
                        <a:pt x="-316" y="84423"/>
                        <a:pt x="14129" y="53768"/>
                        <a:pt x="34833" y="33546"/>
                      </a:cubicBezTo>
                      <a:cubicBezTo>
                        <a:pt x="55217" y="13644"/>
                        <a:pt x="85551" y="-159"/>
                        <a:pt x="121663" y="1"/>
                      </a:cubicBezTo>
                      <a:cubicBezTo>
                        <a:pt x="160343" y="162"/>
                        <a:pt x="177356" y="14286"/>
                        <a:pt x="186825" y="29212"/>
                      </a:cubicBezTo>
                      <a:cubicBezTo>
                        <a:pt x="203677" y="56015"/>
                        <a:pt x="192924" y="91325"/>
                        <a:pt x="171578" y="108980"/>
                      </a:cubicBezTo>
                      <a:cubicBezTo>
                        <a:pt x="158578" y="119894"/>
                        <a:pt x="140602" y="132091"/>
                        <a:pt x="101761" y="139314"/>
                      </a:cubicBezTo>
                      <a:cubicBezTo>
                        <a:pt x="86193" y="142203"/>
                        <a:pt x="62279" y="144289"/>
                        <a:pt x="62279" y="144289"/>
                      </a:cubicBezTo>
                      <a:cubicBezTo>
                        <a:pt x="67094" y="154561"/>
                        <a:pt x="88600" y="165154"/>
                        <a:pt x="112836" y="165475"/>
                      </a:cubicBezTo>
                      <a:lnTo>
                        <a:pt x="178800" y="165475"/>
                      </a:lnTo>
                      <a:lnTo>
                        <a:pt x="163232" y="212180"/>
                      </a:lnTo>
                      <a:lnTo>
                        <a:pt x="103045" y="212180"/>
                      </a:lnTo>
                      <a:close/>
                      <a:moveTo>
                        <a:pt x="56982" y="105770"/>
                      </a:moveTo>
                      <a:cubicBezTo>
                        <a:pt x="56982" y="105770"/>
                        <a:pt x="64686" y="105449"/>
                        <a:pt x="77526" y="102881"/>
                      </a:cubicBezTo>
                      <a:cubicBezTo>
                        <a:pt x="89242" y="100473"/>
                        <a:pt x="124070" y="92930"/>
                        <a:pt x="134342" y="76399"/>
                      </a:cubicBezTo>
                      <a:cubicBezTo>
                        <a:pt x="144614" y="59867"/>
                        <a:pt x="137713" y="58262"/>
                        <a:pt x="131774" y="53287"/>
                      </a:cubicBezTo>
                      <a:cubicBezTo>
                        <a:pt x="122305" y="45101"/>
                        <a:pt x="97267" y="44459"/>
                        <a:pt x="78489" y="62435"/>
                      </a:cubicBezTo>
                      <a:cubicBezTo>
                        <a:pt x="55538" y="84423"/>
                        <a:pt x="57143" y="106091"/>
                        <a:pt x="57143" y="106091"/>
                      </a:cubicBezTo>
                      <a:close/>
                    </a:path>
                  </a:pathLst>
                </a:custGeom>
                <a:solidFill>
                  <a:srgbClr val="30087B"/>
                </a:solidFill>
                <a:ln w="1598" cap="flat">
                  <a:noFill/>
                  <a:prstDash val="solid"/>
                  <a:miter/>
                </a:ln>
              </p:spPr>
              <p:txBody>
                <a:bodyPr rtlCol="0" anchor="ctr"/>
                <a:lstStyle/>
                <a:p>
                  <a:endParaRPr lang="en-US"/>
                </a:p>
              </p:txBody>
            </p:sp>
          </p:grpSp>
          <p:grpSp>
            <p:nvGrpSpPr>
              <p:cNvPr id="53" name="Graphic 11">
                <a:extLst>
                  <a:ext uri="{FF2B5EF4-FFF2-40B4-BE49-F238E27FC236}">
                    <a16:creationId xmlns:a16="http://schemas.microsoft.com/office/drawing/2014/main" id="{DE0C40C0-7D69-C295-516E-5DBD4562747B}"/>
                  </a:ext>
                </a:extLst>
              </p:cNvPr>
              <p:cNvGrpSpPr/>
              <p:nvPr/>
            </p:nvGrpSpPr>
            <p:grpSpPr>
              <a:xfrm>
                <a:off x="10312009" y="358805"/>
                <a:ext cx="355008" cy="312146"/>
                <a:chOff x="10312009" y="358805"/>
                <a:chExt cx="355008" cy="312146"/>
              </a:xfrm>
            </p:grpSpPr>
            <p:sp>
              <p:nvSpPr>
                <p:cNvPr id="54" name="Freeform: Shape 53">
                  <a:extLst>
                    <a:ext uri="{FF2B5EF4-FFF2-40B4-BE49-F238E27FC236}">
                      <a16:creationId xmlns:a16="http://schemas.microsoft.com/office/drawing/2014/main" id="{55F4A089-2EE9-110F-2632-87AE7674AA66}"/>
                    </a:ext>
                  </a:extLst>
                </p:cNvPr>
                <p:cNvSpPr/>
                <p:nvPr/>
              </p:nvSpPr>
              <p:spPr>
                <a:xfrm>
                  <a:off x="10489702" y="358805"/>
                  <a:ext cx="134450" cy="134510"/>
                </a:xfrm>
                <a:custGeom>
                  <a:avLst/>
                  <a:gdLst>
                    <a:gd name="connsiteX0" fmla="*/ 89719 w 134450"/>
                    <a:gd name="connsiteY0" fmla="*/ 134511 h 134510"/>
                    <a:gd name="connsiteX1" fmla="*/ 47989 w 134450"/>
                    <a:gd name="connsiteY1" fmla="*/ 86522 h 134510"/>
                    <a:gd name="connsiteX2" fmla="*/ 0 w 134450"/>
                    <a:gd name="connsiteY2" fmla="*/ 44792 h 134510"/>
                    <a:gd name="connsiteX3" fmla="*/ 125510 w 134450"/>
                    <a:gd name="connsiteY3" fmla="*/ 8841 h 134510"/>
                    <a:gd name="connsiteX4" fmla="*/ 89558 w 134450"/>
                    <a:gd name="connsiteY4" fmla="*/ 134511 h 134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50" h="134510">
                      <a:moveTo>
                        <a:pt x="89719" y="134511"/>
                      </a:moveTo>
                      <a:cubicBezTo>
                        <a:pt x="77842" y="118461"/>
                        <a:pt x="63878" y="102251"/>
                        <a:pt x="47989" y="86522"/>
                      </a:cubicBezTo>
                      <a:cubicBezTo>
                        <a:pt x="32100" y="70793"/>
                        <a:pt x="15889" y="56669"/>
                        <a:pt x="0" y="44792"/>
                      </a:cubicBezTo>
                      <a:cubicBezTo>
                        <a:pt x="54088" y="4507"/>
                        <a:pt x="105126" y="-11543"/>
                        <a:pt x="125510" y="8841"/>
                      </a:cubicBezTo>
                      <a:cubicBezTo>
                        <a:pt x="146053" y="29384"/>
                        <a:pt x="130004" y="80262"/>
                        <a:pt x="89558" y="134511"/>
                      </a:cubicBezTo>
                      <a:close/>
                    </a:path>
                  </a:pathLst>
                </a:custGeom>
                <a:gradFill>
                  <a:gsLst>
                    <a:gs pos="0">
                      <a:srgbClr val="16023D"/>
                    </a:gs>
                    <a:gs pos="10000">
                      <a:srgbClr val="270953"/>
                    </a:gs>
                    <a:gs pos="100000">
                      <a:srgbClr val="AA96E8"/>
                    </a:gs>
                  </a:gsLst>
                  <a:lin ang="7928481" scaled="1"/>
                </a:gradFill>
                <a:ln w="1598"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5BC5555-1B1A-5403-FC00-DA34E962E338}"/>
                    </a:ext>
                  </a:extLst>
                </p:cNvPr>
                <p:cNvSpPr/>
                <p:nvPr/>
              </p:nvSpPr>
              <p:spPr>
                <a:xfrm>
                  <a:off x="10312009" y="359097"/>
                  <a:ext cx="83801" cy="182689"/>
                </a:xfrm>
                <a:custGeom>
                  <a:avLst/>
                  <a:gdLst>
                    <a:gd name="connsiteX0" fmla="*/ 6763 w 83801"/>
                    <a:gd name="connsiteY0" fmla="*/ 182690 h 182689"/>
                    <a:gd name="connsiteX1" fmla="*/ 52023 w 83801"/>
                    <a:gd name="connsiteY1" fmla="*/ 8549 h 182689"/>
                    <a:gd name="connsiteX2" fmla="*/ 83802 w 83801"/>
                    <a:gd name="connsiteY2" fmla="*/ 203 h 182689"/>
                    <a:gd name="connsiteX3" fmla="*/ 62937 w 83801"/>
                    <a:gd name="connsiteY3" fmla="*/ 18500 h 182689"/>
                    <a:gd name="connsiteX4" fmla="*/ 44801 w 83801"/>
                    <a:gd name="connsiteY4" fmla="*/ 39365 h 182689"/>
                    <a:gd name="connsiteX5" fmla="*/ 6763 w 83801"/>
                    <a:gd name="connsiteY5" fmla="*/ 182690 h 18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1" h="182689">
                      <a:moveTo>
                        <a:pt x="6763" y="182690"/>
                      </a:moveTo>
                      <a:cubicBezTo>
                        <a:pt x="-10250" y="122824"/>
                        <a:pt x="4837" y="55736"/>
                        <a:pt x="52023" y="8549"/>
                      </a:cubicBezTo>
                      <a:cubicBezTo>
                        <a:pt x="58925" y="1648"/>
                        <a:pt x="70801" y="-760"/>
                        <a:pt x="83802" y="203"/>
                      </a:cubicBezTo>
                      <a:cubicBezTo>
                        <a:pt x="76579" y="5660"/>
                        <a:pt x="69517" y="11759"/>
                        <a:pt x="62937" y="18500"/>
                      </a:cubicBezTo>
                      <a:cubicBezTo>
                        <a:pt x="56357" y="25080"/>
                        <a:pt x="50258" y="32142"/>
                        <a:pt x="44801" y="39365"/>
                      </a:cubicBezTo>
                      <a:cubicBezTo>
                        <a:pt x="11899" y="82539"/>
                        <a:pt x="182" y="134540"/>
                        <a:pt x="6763" y="182690"/>
                      </a:cubicBezTo>
                      <a:close/>
                    </a:path>
                  </a:pathLst>
                </a:custGeom>
                <a:gradFill>
                  <a:gsLst>
                    <a:gs pos="0">
                      <a:srgbClr val="3C269D"/>
                    </a:gs>
                    <a:gs pos="50000">
                      <a:srgbClr val="8670CD"/>
                    </a:gs>
                    <a:gs pos="100000">
                      <a:srgbClr val="D1BAFE"/>
                    </a:gs>
                  </a:gsLst>
                  <a:lin ang="6380163" scaled="1"/>
                </a:gradFill>
                <a:ln w="1598"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5ACCA81-400B-E811-12D0-AF9AAAFA08A8}"/>
                    </a:ext>
                  </a:extLst>
                </p:cNvPr>
                <p:cNvSpPr/>
                <p:nvPr/>
              </p:nvSpPr>
              <p:spPr>
                <a:xfrm>
                  <a:off x="10324672" y="364115"/>
                  <a:ext cx="119447" cy="237055"/>
                </a:xfrm>
                <a:custGeom>
                  <a:avLst/>
                  <a:gdLst>
                    <a:gd name="connsiteX0" fmla="*/ 23791 w 119447"/>
                    <a:gd name="connsiteY0" fmla="*/ 236895 h 237055"/>
                    <a:gd name="connsiteX1" fmla="*/ 23630 w 119447"/>
                    <a:gd name="connsiteY1" fmla="*/ 236574 h 237055"/>
                    <a:gd name="connsiteX2" fmla="*/ 37 w 119447"/>
                    <a:gd name="connsiteY2" fmla="*/ 169326 h 237055"/>
                    <a:gd name="connsiteX3" fmla="*/ 35828 w 119447"/>
                    <a:gd name="connsiteY3" fmla="*/ 57940 h 237055"/>
                    <a:gd name="connsiteX4" fmla="*/ 62150 w 119447"/>
                    <a:gd name="connsiteY4" fmla="*/ 26322 h 237055"/>
                    <a:gd name="connsiteX5" fmla="*/ 93768 w 119447"/>
                    <a:gd name="connsiteY5" fmla="*/ 0 h 237055"/>
                    <a:gd name="connsiteX6" fmla="*/ 119448 w 119447"/>
                    <a:gd name="connsiteY6" fmla="*/ 10914 h 237055"/>
                    <a:gd name="connsiteX7" fmla="*/ 79484 w 119447"/>
                    <a:gd name="connsiteY7" fmla="*/ 43816 h 237055"/>
                    <a:gd name="connsiteX8" fmla="*/ 46582 w 119447"/>
                    <a:gd name="connsiteY8" fmla="*/ 83780 h 237055"/>
                    <a:gd name="connsiteX9" fmla="*/ 23630 w 119447"/>
                    <a:gd name="connsiteY9" fmla="*/ 237056 h 23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447" h="237055">
                      <a:moveTo>
                        <a:pt x="23791" y="236895"/>
                      </a:moveTo>
                      <a:cubicBezTo>
                        <a:pt x="23791" y="236895"/>
                        <a:pt x="23791" y="236735"/>
                        <a:pt x="23630" y="236574"/>
                      </a:cubicBezTo>
                      <a:cubicBezTo>
                        <a:pt x="8865" y="217315"/>
                        <a:pt x="519" y="193721"/>
                        <a:pt x="37" y="169326"/>
                      </a:cubicBezTo>
                      <a:cubicBezTo>
                        <a:pt x="-765" y="132572"/>
                        <a:pt x="11433" y="93089"/>
                        <a:pt x="35828" y="57940"/>
                      </a:cubicBezTo>
                      <a:cubicBezTo>
                        <a:pt x="43372" y="46866"/>
                        <a:pt x="52199" y="36273"/>
                        <a:pt x="62150" y="26322"/>
                      </a:cubicBezTo>
                      <a:cubicBezTo>
                        <a:pt x="72101" y="16371"/>
                        <a:pt x="82694" y="7543"/>
                        <a:pt x="93768" y="0"/>
                      </a:cubicBezTo>
                      <a:cubicBezTo>
                        <a:pt x="101954" y="2728"/>
                        <a:pt x="110460" y="6259"/>
                        <a:pt x="119448" y="10914"/>
                      </a:cubicBezTo>
                      <a:cubicBezTo>
                        <a:pt x="105645" y="20062"/>
                        <a:pt x="92163" y="31137"/>
                        <a:pt x="79484" y="43816"/>
                      </a:cubicBezTo>
                      <a:cubicBezTo>
                        <a:pt x="66804" y="56495"/>
                        <a:pt x="55891" y="69977"/>
                        <a:pt x="46582" y="83780"/>
                      </a:cubicBezTo>
                      <a:cubicBezTo>
                        <a:pt x="10951" y="137387"/>
                        <a:pt x="1642" y="196610"/>
                        <a:pt x="23630" y="237056"/>
                      </a:cubicBezTo>
                      <a:close/>
                    </a:path>
                  </a:pathLst>
                </a:custGeom>
                <a:gradFill>
                  <a:gsLst>
                    <a:gs pos="0">
                      <a:srgbClr val="3C269D"/>
                    </a:gs>
                    <a:gs pos="50000">
                      <a:srgbClr val="8670CD"/>
                    </a:gs>
                    <a:gs pos="100000">
                      <a:srgbClr val="D1BAFE"/>
                    </a:gs>
                  </a:gsLst>
                  <a:lin ang="6381133" scaled="1"/>
                </a:gradFill>
                <a:ln w="1598"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31B7144D-5915-B999-806C-4C1C9A6FDABE}"/>
                    </a:ext>
                  </a:extLst>
                </p:cNvPr>
                <p:cNvSpPr/>
                <p:nvPr/>
              </p:nvSpPr>
              <p:spPr>
                <a:xfrm>
                  <a:off x="10344885" y="384658"/>
                  <a:ext cx="144816" cy="234166"/>
                </a:xfrm>
                <a:custGeom>
                  <a:avLst/>
                  <a:gdLst>
                    <a:gd name="connsiteX0" fmla="*/ 19146 w 144816"/>
                    <a:gd name="connsiteY0" fmla="*/ 234167 h 234166"/>
                    <a:gd name="connsiteX1" fmla="*/ 36159 w 144816"/>
                    <a:gd name="connsiteY1" fmla="*/ 80731 h 234166"/>
                    <a:gd name="connsiteX2" fmla="*/ 72753 w 144816"/>
                    <a:gd name="connsiteY2" fmla="*/ 36594 h 234166"/>
                    <a:gd name="connsiteX3" fmla="*/ 116890 w 144816"/>
                    <a:gd name="connsiteY3" fmla="*/ 0 h 234166"/>
                    <a:gd name="connsiteX4" fmla="*/ 144816 w 144816"/>
                    <a:gd name="connsiteY4" fmla="*/ 18778 h 234166"/>
                    <a:gd name="connsiteX5" fmla="*/ 96827 w 144816"/>
                    <a:gd name="connsiteY5" fmla="*/ 60508 h 234166"/>
                    <a:gd name="connsiteX6" fmla="*/ 55098 w 144816"/>
                    <a:gd name="connsiteY6" fmla="*/ 108497 h 234166"/>
                    <a:gd name="connsiteX7" fmla="*/ 19146 w 144816"/>
                    <a:gd name="connsiteY7" fmla="*/ 234006 h 23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816" h="234166">
                      <a:moveTo>
                        <a:pt x="19146" y="234167"/>
                      </a:moveTo>
                      <a:cubicBezTo>
                        <a:pt x="-12472" y="202549"/>
                        <a:pt x="-3644" y="139954"/>
                        <a:pt x="36159" y="80731"/>
                      </a:cubicBezTo>
                      <a:cubicBezTo>
                        <a:pt x="46431" y="65644"/>
                        <a:pt x="58629" y="50717"/>
                        <a:pt x="72753" y="36594"/>
                      </a:cubicBezTo>
                      <a:cubicBezTo>
                        <a:pt x="86877" y="22470"/>
                        <a:pt x="101803" y="10272"/>
                        <a:pt x="116890" y="0"/>
                      </a:cubicBezTo>
                      <a:cubicBezTo>
                        <a:pt x="126038" y="5457"/>
                        <a:pt x="135347" y="11716"/>
                        <a:pt x="144816" y="18778"/>
                      </a:cubicBezTo>
                      <a:cubicBezTo>
                        <a:pt x="128767" y="30655"/>
                        <a:pt x="112556" y="44619"/>
                        <a:pt x="96827" y="60508"/>
                      </a:cubicBezTo>
                      <a:cubicBezTo>
                        <a:pt x="81099" y="76397"/>
                        <a:pt x="66975" y="92607"/>
                        <a:pt x="55098" y="108497"/>
                      </a:cubicBezTo>
                      <a:cubicBezTo>
                        <a:pt x="14813" y="162585"/>
                        <a:pt x="-1237" y="213623"/>
                        <a:pt x="19146" y="234006"/>
                      </a:cubicBezTo>
                      <a:close/>
                    </a:path>
                  </a:pathLst>
                </a:custGeom>
                <a:gradFill>
                  <a:gsLst>
                    <a:gs pos="0">
                      <a:srgbClr val="3C269D"/>
                    </a:gs>
                    <a:gs pos="50000">
                      <a:srgbClr val="8670CD"/>
                    </a:gs>
                    <a:gs pos="100000">
                      <a:srgbClr val="D1BAFE"/>
                    </a:gs>
                  </a:gsLst>
                  <a:lin ang="6380647" scaled="1"/>
                </a:gradFill>
                <a:ln w="1598"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A13CF5FD-AD14-04E4-243A-81640A761D8F}"/>
                    </a:ext>
                  </a:extLst>
                </p:cNvPr>
                <p:cNvSpPr/>
                <p:nvPr/>
              </p:nvSpPr>
              <p:spPr>
                <a:xfrm>
                  <a:off x="10364032" y="493316"/>
                  <a:ext cx="234166" cy="144932"/>
                </a:xfrm>
                <a:custGeom>
                  <a:avLst/>
                  <a:gdLst>
                    <a:gd name="connsiteX0" fmla="*/ 197573 w 234166"/>
                    <a:gd name="connsiteY0" fmla="*/ 72064 h 144932"/>
                    <a:gd name="connsiteX1" fmla="*/ 153436 w 234166"/>
                    <a:gd name="connsiteY1" fmla="*/ 108657 h 144932"/>
                    <a:gd name="connsiteX2" fmla="*/ 0 w 234166"/>
                    <a:gd name="connsiteY2" fmla="*/ 125670 h 144932"/>
                    <a:gd name="connsiteX3" fmla="*/ 125670 w 234166"/>
                    <a:gd name="connsiteY3" fmla="*/ 89719 h 144932"/>
                    <a:gd name="connsiteX4" fmla="*/ 173659 w 234166"/>
                    <a:gd name="connsiteY4" fmla="*/ 47989 h 144932"/>
                    <a:gd name="connsiteX5" fmla="*/ 215389 w 234166"/>
                    <a:gd name="connsiteY5" fmla="*/ 0 h 144932"/>
                    <a:gd name="connsiteX6" fmla="*/ 234167 w 234166"/>
                    <a:gd name="connsiteY6" fmla="*/ 27927 h 144932"/>
                    <a:gd name="connsiteX7" fmla="*/ 197573 w 234166"/>
                    <a:gd name="connsiteY7" fmla="*/ 72064 h 14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166" h="144932">
                      <a:moveTo>
                        <a:pt x="197573" y="72064"/>
                      </a:moveTo>
                      <a:cubicBezTo>
                        <a:pt x="183449" y="86188"/>
                        <a:pt x="168523" y="98385"/>
                        <a:pt x="153436" y="108657"/>
                      </a:cubicBezTo>
                      <a:cubicBezTo>
                        <a:pt x="94212" y="148621"/>
                        <a:pt x="31618" y="157449"/>
                        <a:pt x="0" y="125670"/>
                      </a:cubicBezTo>
                      <a:cubicBezTo>
                        <a:pt x="20544" y="146214"/>
                        <a:pt x="71422" y="130164"/>
                        <a:pt x="125670" y="89719"/>
                      </a:cubicBezTo>
                      <a:cubicBezTo>
                        <a:pt x="141559" y="77842"/>
                        <a:pt x="157930" y="63878"/>
                        <a:pt x="173659" y="47989"/>
                      </a:cubicBezTo>
                      <a:cubicBezTo>
                        <a:pt x="189388" y="32100"/>
                        <a:pt x="203512" y="15889"/>
                        <a:pt x="215389" y="0"/>
                      </a:cubicBezTo>
                      <a:cubicBezTo>
                        <a:pt x="222451" y="9469"/>
                        <a:pt x="228710" y="18778"/>
                        <a:pt x="234167" y="27927"/>
                      </a:cubicBezTo>
                      <a:cubicBezTo>
                        <a:pt x="223895" y="43014"/>
                        <a:pt x="211697" y="57940"/>
                        <a:pt x="197573" y="72064"/>
                      </a:cubicBezTo>
                      <a:close/>
                    </a:path>
                  </a:pathLst>
                </a:custGeom>
                <a:gradFill>
                  <a:gsLst>
                    <a:gs pos="0">
                      <a:srgbClr val="3C269D"/>
                    </a:gs>
                    <a:gs pos="50000">
                      <a:srgbClr val="8670CD"/>
                    </a:gs>
                    <a:gs pos="100000">
                      <a:srgbClr val="D1BAFE"/>
                    </a:gs>
                  </a:gsLst>
                  <a:lin ang="19777187" scaled="1"/>
                </a:gradFill>
                <a:ln w="1598"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8BA87DEB-1533-C6E4-8C36-9D311D685488}"/>
                    </a:ext>
                  </a:extLst>
                </p:cNvPr>
                <p:cNvSpPr/>
                <p:nvPr/>
              </p:nvSpPr>
              <p:spPr>
                <a:xfrm>
                  <a:off x="10381686" y="538576"/>
                  <a:ext cx="236895" cy="119608"/>
                </a:xfrm>
                <a:custGeom>
                  <a:avLst/>
                  <a:gdLst>
                    <a:gd name="connsiteX0" fmla="*/ 210734 w 236895"/>
                    <a:gd name="connsiteY0" fmla="*/ 57458 h 119608"/>
                    <a:gd name="connsiteX1" fmla="*/ 179116 w 236895"/>
                    <a:gd name="connsiteY1" fmla="*/ 83780 h 119608"/>
                    <a:gd name="connsiteX2" fmla="*/ 67730 w 236895"/>
                    <a:gd name="connsiteY2" fmla="*/ 119571 h 119608"/>
                    <a:gd name="connsiteX3" fmla="*/ 321 w 236895"/>
                    <a:gd name="connsiteY3" fmla="*/ 95978 h 119608"/>
                    <a:gd name="connsiteX4" fmla="*/ 0 w 236895"/>
                    <a:gd name="connsiteY4" fmla="*/ 95978 h 119608"/>
                    <a:gd name="connsiteX5" fmla="*/ 153115 w 236895"/>
                    <a:gd name="connsiteY5" fmla="*/ 72866 h 119608"/>
                    <a:gd name="connsiteX6" fmla="*/ 193079 w 236895"/>
                    <a:gd name="connsiteY6" fmla="*/ 39964 h 119608"/>
                    <a:gd name="connsiteX7" fmla="*/ 225981 w 236895"/>
                    <a:gd name="connsiteY7" fmla="*/ 0 h 119608"/>
                    <a:gd name="connsiteX8" fmla="*/ 236895 w 236895"/>
                    <a:gd name="connsiteY8" fmla="*/ 25680 h 119608"/>
                    <a:gd name="connsiteX9" fmla="*/ 210574 w 236895"/>
                    <a:gd name="connsiteY9" fmla="*/ 57298 h 1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895" h="119608">
                      <a:moveTo>
                        <a:pt x="210734" y="57458"/>
                      </a:moveTo>
                      <a:cubicBezTo>
                        <a:pt x="200783" y="67409"/>
                        <a:pt x="190190" y="76237"/>
                        <a:pt x="179116" y="83780"/>
                      </a:cubicBezTo>
                      <a:cubicBezTo>
                        <a:pt x="143967" y="108176"/>
                        <a:pt x="104484" y="120374"/>
                        <a:pt x="67730" y="119571"/>
                      </a:cubicBezTo>
                      <a:cubicBezTo>
                        <a:pt x="43335" y="119090"/>
                        <a:pt x="19741" y="110744"/>
                        <a:pt x="321" y="95978"/>
                      </a:cubicBezTo>
                      <a:lnTo>
                        <a:pt x="0" y="95978"/>
                      </a:lnTo>
                      <a:cubicBezTo>
                        <a:pt x="40285" y="117645"/>
                        <a:pt x="99669" y="108497"/>
                        <a:pt x="153115" y="72866"/>
                      </a:cubicBezTo>
                      <a:cubicBezTo>
                        <a:pt x="166918" y="63718"/>
                        <a:pt x="180400" y="52643"/>
                        <a:pt x="193079" y="39964"/>
                      </a:cubicBezTo>
                      <a:cubicBezTo>
                        <a:pt x="205759" y="27285"/>
                        <a:pt x="216673" y="13803"/>
                        <a:pt x="225981" y="0"/>
                      </a:cubicBezTo>
                      <a:cubicBezTo>
                        <a:pt x="230475" y="8988"/>
                        <a:pt x="234167" y="17655"/>
                        <a:pt x="236895" y="25680"/>
                      </a:cubicBezTo>
                      <a:cubicBezTo>
                        <a:pt x="229352" y="36754"/>
                        <a:pt x="220525" y="47347"/>
                        <a:pt x="210574" y="57298"/>
                      </a:cubicBezTo>
                      <a:close/>
                    </a:path>
                  </a:pathLst>
                </a:custGeom>
                <a:gradFill>
                  <a:gsLst>
                    <a:gs pos="0">
                      <a:srgbClr val="3C269D"/>
                    </a:gs>
                    <a:gs pos="50000">
                      <a:srgbClr val="8670CD"/>
                    </a:gs>
                    <a:gs pos="100000">
                      <a:srgbClr val="D1BAFE"/>
                    </a:gs>
                  </a:gsLst>
                  <a:lin ang="19777927" scaled="1"/>
                </a:gradFill>
                <a:ln w="1598"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EE96659C-51FB-3BF7-7453-60AA6EAD1C9A}"/>
                    </a:ext>
                  </a:extLst>
                </p:cNvPr>
                <p:cNvSpPr/>
                <p:nvPr/>
              </p:nvSpPr>
              <p:spPr>
                <a:xfrm>
                  <a:off x="10579099" y="367485"/>
                  <a:ext cx="87917" cy="250537"/>
                </a:xfrm>
                <a:custGeom>
                  <a:avLst/>
                  <a:gdLst>
                    <a:gd name="connsiteX0" fmla="*/ 81373 w 87917"/>
                    <a:gd name="connsiteY0" fmla="*/ 77360 h 250537"/>
                    <a:gd name="connsiteX1" fmla="*/ 69014 w 87917"/>
                    <a:gd name="connsiteY1" fmla="*/ 45742 h 250537"/>
                    <a:gd name="connsiteX2" fmla="*/ 51680 w 87917"/>
                    <a:gd name="connsiteY2" fmla="*/ 17976 h 250537"/>
                    <a:gd name="connsiteX3" fmla="*/ 35952 w 87917"/>
                    <a:gd name="connsiteY3" fmla="*/ 0 h 250537"/>
                    <a:gd name="connsiteX4" fmla="*/ 0 w 87917"/>
                    <a:gd name="connsiteY4" fmla="*/ 125670 h 250537"/>
                    <a:gd name="connsiteX5" fmla="*/ 18778 w 87917"/>
                    <a:gd name="connsiteY5" fmla="*/ 153597 h 250537"/>
                    <a:gd name="connsiteX6" fmla="*/ 28569 w 87917"/>
                    <a:gd name="connsiteY6" fmla="*/ 171252 h 250537"/>
                    <a:gd name="connsiteX7" fmla="*/ 39483 w 87917"/>
                    <a:gd name="connsiteY7" fmla="*/ 196931 h 250537"/>
                    <a:gd name="connsiteX8" fmla="*/ 44298 w 87917"/>
                    <a:gd name="connsiteY8" fmla="*/ 217636 h 250537"/>
                    <a:gd name="connsiteX9" fmla="*/ 44298 w 87917"/>
                    <a:gd name="connsiteY9" fmla="*/ 217636 h 250537"/>
                    <a:gd name="connsiteX10" fmla="*/ 36594 w 87917"/>
                    <a:gd name="connsiteY10" fmla="*/ 250538 h 250537"/>
                    <a:gd name="connsiteX11" fmla="*/ 36594 w 87917"/>
                    <a:gd name="connsiteY11" fmla="*/ 250538 h 250537"/>
                    <a:gd name="connsiteX12" fmla="*/ 81212 w 87917"/>
                    <a:gd name="connsiteY12" fmla="*/ 77200 h 25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917" h="250537">
                      <a:moveTo>
                        <a:pt x="81373" y="77360"/>
                      </a:moveTo>
                      <a:cubicBezTo>
                        <a:pt x="78323" y="66607"/>
                        <a:pt x="74311" y="56014"/>
                        <a:pt x="69014" y="45742"/>
                      </a:cubicBezTo>
                      <a:cubicBezTo>
                        <a:pt x="64199" y="36112"/>
                        <a:pt x="58421" y="26803"/>
                        <a:pt x="51680" y="17976"/>
                      </a:cubicBezTo>
                      <a:cubicBezTo>
                        <a:pt x="47026" y="11716"/>
                        <a:pt x="41730" y="5778"/>
                        <a:pt x="35952" y="0"/>
                      </a:cubicBezTo>
                      <a:cubicBezTo>
                        <a:pt x="56495" y="20544"/>
                        <a:pt x="40446" y="71422"/>
                        <a:pt x="0" y="125670"/>
                      </a:cubicBezTo>
                      <a:cubicBezTo>
                        <a:pt x="7062" y="135140"/>
                        <a:pt x="13321" y="144448"/>
                        <a:pt x="18778" y="153597"/>
                      </a:cubicBezTo>
                      <a:cubicBezTo>
                        <a:pt x="22470" y="159535"/>
                        <a:pt x="25680" y="165474"/>
                        <a:pt x="28569" y="171252"/>
                      </a:cubicBezTo>
                      <a:cubicBezTo>
                        <a:pt x="33063" y="180240"/>
                        <a:pt x="36754" y="188906"/>
                        <a:pt x="39483" y="196931"/>
                      </a:cubicBezTo>
                      <a:cubicBezTo>
                        <a:pt x="41890" y="204314"/>
                        <a:pt x="43495" y="211216"/>
                        <a:pt x="44298" y="217636"/>
                      </a:cubicBezTo>
                      <a:cubicBezTo>
                        <a:pt x="44298" y="217636"/>
                        <a:pt x="44298" y="217636"/>
                        <a:pt x="44298" y="217636"/>
                      </a:cubicBezTo>
                      <a:cubicBezTo>
                        <a:pt x="47026" y="238019"/>
                        <a:pt x="39804" y="247328"/>
                        <a:pt x="36594" y="250538"/>
                      </a:cubicBezTo>
                      <a:cubicBezTo>
                        <a:pt x="36594" y="250538"/>
                        <a:pt x="36594" y="250538"/>
                        <a:pt x="36594" y="250538"/>
                      </a:cubicBezTo>
                      <a:cubicBezTo>
                        <a:pt x="83138" y="203512"/>
                        <a:pt x="98064" y="136745"/>
                        <a:pt x="81212" y="77200"/>
                      </a:cubicBezTo>
                      <a:close/>
                    </a:path>
                  </a:pathLst>
                </a:custGeom>
                <a:gradFill>
                  <a:gsLst>
                    <a:gs pos="0">
                      <a:srgbClr val="3C269D"/>
                    </a:gs>
                    <a:gs pos="50000">
                      <a:srgbClr val="8670CD"/>
                    </a:gs>
                    <a:gs pos="100000">
                      <a:srgbClr val="D1BAFE"/>
                    </a:gs>
                  </a:gsLst>
                  <a:lin ang="18613502" scaled="1"/>
                </a:gradFill>
                <a:ln w="1598"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45129E55-7AAA-F55D-2478-19CC6FFEDA0B}"/>
                    </a:ext>
                  </a:extLst>
                </p:cNvPr>
                <p:cNvSpPr/>
                <p:nvPr/>
              </p:nvSpPr>
              <p:spPr>
                <a:xfrm>
                  <a:off x="10441071" y="585281"/>
                  <a:ext cx="183090" cy="85670"/>
                </a:xfrm>
                <a:custGeom>
                  <a:avLst/>
                  <a:gdLst>
                    <a:gd name="connsiteX0" fmla="*/ 182487 w 183090"/>
                    <a:gd name="connsiteY0" fmla="*/ 0 h 85670"/>
                    <a:gd name="connsiteX1" fmla="*/ 182487 w 183090"/>
                    <a:gd name="connsiteY1" fmla="*/ 0 h 85670"/>
                    <a:gd name="connsiteX2" fmla="*/ 164190 w 183090"/>
                    <a:gd name="connsiteY2" fmla="*/ 21025 h 85670"/>
                    <a:gd name="connsiteX3" fmla="*/ 143325 w 183090"/>
                    <a:gd name="connsiteY3" fmla="*/ 39322 h 85670"/>
                    <a:gd name="connsiteX4" fmla="*/ 0 w 183090"/>
                    <a:gd name="connsiteY4" fmla="*/ 78965 h 85670"/>
                    <a:gd name="connsiteX5" fmla="*/ 173499 w 183090"/>
                    <a:gd name="connsiteY5" fmla="*/ 34347 h 85670"/>
                    <a:gd name="connsiteX6" fmla="*/ 174783 w 183090"/>
                    <a:gd name="connsiteY6" fmla="*/ 33063 h 85670"/>
                    <a:gd name="connsiteX7" fmla="*/ 182487 w 183090"/>
                    <a:gd name="connsiteY7" fmla="*/ 160 h 8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090" h="85670">
                      <a:moveTo>
                        <a:pt x="182487" y="0"/>
                      </a:moveTo>
                      <a:cubicBezTo>
                        <a:pt x="182487" y="0"/>
                        <a:pt x="182487" y="0"/>
                        <a:pt x="182487" y="0"/>
                      </a:cubicBezTo>
                      <a:cubicBezTo>
                        <a:pt x="177030" y="7222"/>
                        <a:pt x="170770" y="14445"/>
                        <a:pt x="164190" y="21025"/>
                      </a:cubicBezTo>
                      <a:cubicBezTo>
                        <a:pt x="157609" y="27606"/>
                        <a:pt x="150547" y="33705"/>
                        <a:pt x="143325" y="39322"/>
                      </a:cubicBezTo>
                      <a:cubicBezTo>
                        <a:pt x="100151" y="72224"/>
                        <a:pt x="47828" y="87793"/>
                        <a:pt x="0" y="78965"/>
                      </a:cubicBezTo>
                      <a:cubicBezTo>
                        <a:pt x="59705" y="95817"/>
                        <a:pt x="126312" y="80891"/>
                        <a:pt x="173499" y="34347"/>
                      </a:cubicBezTo>
                      <a:cubicBezTo>
                        <a:pt x="173499" y="34186"/>
                        <a:pt x="174141" y="33705"/>
                        <a:pt x="174783" y="33063"/>
                      </a:cubicBezTo>
                      <a:cubicBezTo>
                        <a:pt x="177993" y="29853"/>
                        <a:pt x="185215" y="20544"/>
                        <a:pt x="182487" y="160"/>
                      </a:cubicBezTo>
                      <a:close/>
                    </a:path>
                  </a:pathLst>
                </a:custGeom>
                <a:gradFill>
                  <a:gsLst>
                    <a:gs pos="0">
                      <a:srgbClr val="3C269D"/>
                    </a:gs>
                    <a:gs pos="50000">
                      <a:srgbClr val="8670CD"/>
                    </a:gs>
                    <a:gs pos="100000">
                      <a:srgbClr val="D1BAFE"/>
                    </a:gs>
                  </a:gsLst>
                  <a:lin ang="19777169" scaled="1"/>
                </a:gradFill>
                <a:ln w="1598" cap="flat">
                  <a:noFill/>
                  <a:prstDash val="solid"/>
                  <a:miter/>
                </a:ln>
              </p:spPr>
              <p:txBody>
                <a:bodyPr rtlCol="0" anchor="ctr"/>
                <a:lstStyle/>
                <a:p>
                  <a:endParaRPr lang="en-US"/>
                </a:p>
              </p:txBody>
            </p:sp>
          </p:grpSp>
        </p:grpSp>
        <p:grpSp>
          <p:nvGrpSpPr>
            <p:cNvPr id="62" name="Graphic 11">
              <a:extLst>
                <a:ext uri="{FF2B5EF4-FFF2-40B4-BE49-F238E27FC236}">
                  <a16:creationId xmlns:a16="http://schemas.microsoft.com/office/drawing/2014/main" id="{96047438-28C9-33BD-B263-3BA46283F651}"/>
                </a:ext>
              </a:extLst>
            </p:cNvPr>
            <p:cNvGrpSpPr/>
            <p:nvPr/>
          </p:nvGrpSpPr>
          <p:grpSpPr>
            <a:xfrm>
              <a:off x="11328947" y="408733"/>
              <a:ext cx="461592" cy="208166"/>
              <a:chOff x="11328947" y="408733"/>
              <a:chExt cx="461592" cy="208166"/>
            </a:xfrm>
            <a:solidFill>
              <a:srgbClr val="000000"/>
            </a:solidFill>
          </p:grpSpPr>
          <p:sp>
            <p:nvSpPr>
              <p:cNvPr id="63" name="Freeform: Shape 62">
                <a:extLst>
                  <a:ext uri="{FF2B5EF4-FFF2-40B4-BE49-F238E27FC236}">
                    <a16:creationId xmlns:a16="http://schemas.microsoft.com/office/drawing/2014/main" id="{8369C100-20A7-B3A0-6ACD-7ED578DBBD9A}"/>
                  </a:ext>
                </a:extLst>
              </p:cNvPr>
              <p:cNvSpPr/>
              <p:nvPr/>
            </p:nvSpPr>
            <p:spPr>
              <a:xfrm>
                <a:off x="11328947" y="408894"/>
                <a:ext cx="67409" cy="91483"/>
              </a:xfrm>
              <a:custGeom>
                <a:avLst/>
                <a:gdLst>
                  <a:gd name="connsiteX0" fmla="*/ 34186 w 67409"/>
                  <a:gd name="connsiteY0" fmla="*/ 91323 h 91483"/>
                  <a:gd name="connsiteX1" fmla="*/ 14926 w 67409"/>
                  <a:gd name="connsiteY1" fmla="*/ 88595 h 91483"/>
                  <a:gd name="connsiteX2" fmla="*/ 0 w 67409"/>
                  <a:gd name="connsiteY2" fmla="*/ 80731 h 91483"/>
                  <a:gd name="connsiteX3" fmla="*/ 4012 w 67409"/>
                  <a:gd name="connsiteY3" fmla="*/ 71422 h 91483"/>
                  <a:gd name="connsiteX4" fmla="*/ 13000 w 67409"/>
                  <a:gd name="connsiteY4" fmla="*/ 76879 h 91483"/>
                  <a:gd name="connsiteX5" fmla="*/ 22791 w 67409"/>
                  <a:gd name="connsiteY5" fmla="*/ 80089 h 91483"/>
                  <a:gd name="connsiteX6" fmla="*/ 34186 w 67409"/>
                  <a:gd name="connsiteY6" fmla="*/ 81212 h 91483"/>
                  <a:gd name="connsiteX7" fmla="*/ 50396 w 67409"/>
                  <a:gd name="connsiteY7" fmla="*/ 77200 h 91483"/>
                  <a:gd name="connsiteX8" fmla="*/ 55693 w 67409"/>
                  <a:gd name="connsiteY8" fmla="*/ 66607 h 91483"/>
                  <a:gd name="connsiteX9" fmla="*/ 52001 w 67409"/>
                  <a:gd name="connsiteY9" fmla="*/ 57940 h 91483"/>
                  <a:gd name="connsiteX10" fmla="*/ 39162 w 67409"/>
                  <a:gd name="connsiteY10" fmla="*/ 53125 h 91483"/>
                  <a:gd name="connsiteX11" fmla="*/ 25680 w 67409"/>
                  <a:gd name="connsiteY11" fmla="*/ 50396 h 91483"/>
                  <a:gd name="connsiteX12" fmla="*/ 7383 w 67409"/>
                  <a:gd name="connsiteY12" fmla="*/ 42051 h 91483"/>
                  <a:gd name="connsiteX13" fmla="*/ 1444 w 67409"/>
                  <a:gd name="connsiteY13" fmla="*/ 26482 h 91483"/>
                  <a:gd name="connsiteX14" fmla="*/ 5617 w 67409"/>
                  <a:gd name="connsiteY14" fmla="*/ 12519 h 91483"/>
                  <a:gd name="connsiteX15" fmla="*/ 17334 w 67409"/>
                  <a:gd name="connsiteY15" fmla="*/ 3210 h 91483"/>
                  <a:gd name="connsiteX16" fmla="*/ 34989 w 67409"/>
                  <a:gd name="connsiteY16" fmla="*/ 0 h 91483"/>
                  <a:gd name="connsiteX17" fmla="*/ 52322 w 67409"/>
                  <a:gd name="connsiteY17" fmla="*/ 2728 h 91483"/>
                  <a:gd name="connsiteX18" fmla="*/ 65644 w 67409"/>
                  <a:gd name="connsiteY18" fmla="*/ 10914 h 91483"/>
                  <a:gd name="connsiteX19" fmla="*/ 61631 w 67409"/>
                  <a:gd name="connsiteY19" fmla="*/ 19902 h 91483"/>
                  <a:gd name="connsiteX20" fmla="*/ 49433 w 67409"/>
                  <a:gd name="connsiteY20" fmla="*/ 12358 h 91483"/>
                  <a:gd name="connsiteX21" fmla="*/ 34668 w 67409"/>
                  <a:gd name="connsiteY21" fmla="*/ 9951 h 91483"/>
                  <a:gd name="connsiteX22" fmla="*/ 18939 w 67409"/>
                  <a:gd name="connsiteY22" fmla="*/ 14284 h 91483"/>
                  <a:gd name="connsiteX23" fmla="*/ 13161 w 67409"/>
                  <a:gd name="connsiteY23" fmla="*/ 25840 h 91483"/>
                  <a:gd name="connsiteX24" fmla="*/ 16852 w 67409"/>
                  <a:gd name="connsiteY24" fmla="*/ 34989 h 91483"/>
                  <a:gd name="connsiteX25" fmla="*/ 29050 w 67409"/>
                  <a:gd name="connsiteY25" fmla="*/ 40125 h 91483"/>
                  <a:gd name="connsiteX26" fmla="*/ 42532 w 67409"/>
                  <a:gd name="connsiteY26" fmla="*/ 42853 h 91483"/>
                  <a:gd name="connsiteX27" fmla="*/ 61471 w 67409"/>
                  <a:gd name="connsiteY27" fmla="*/ 50878 h 91483"/>
                  <a:gd name="connsiteX28" fmla="*/ 67409 w 67409"/>
                  <a:gd name="connsiteY28" fmla="*/ 65965 h 91483"/>
                  <a:gd name="connsiteX29" fmla="*/ 63397 w 67409"/>
                  <a:gd name="connsiteY29" fmla="*/ 79286 h 91483"/>
                  <a:gd name="connsiteX30" fmla="*/ 51841 w 67409"/>
                  <a:gd name="connsiteY30" fmla="*/ 88274 h 91483"/>
                  <a:gd name="connsiteX31" fmla="*/ 34186 w 67409"/>
                  <a:gd name="connsiteY31" fmla="*/ 91484 h 9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409" h="91483">
                    <a:moveTo>
                      <a:pt x="34186" y="91323"/>
                    </a:moveTo>
                    <a:cubicBezTo>
                      <a:pt x="26964" y="91323"/>
                      <a:pt x="20544" y="90361"/>
                      <a:pt x="14926" y="88595"/>
                    </a:cubicBezTo>
                    <a:cubicBezTo>
                      <a:pt x="9148" y="86669"/>
                      <a:pt x="4173" y="84101"/>
                      <a:pt x="0" y="80731"/>
                    </a:cubicBezTo>
                    <a:lnTo>
                      <a:pt x="4012" y="71422"/>
                    </a:lnTo>
                    <a:cubicBezTo>
                      <a:pt x="6901" y="73669"/>
                      <a:pt x="9951" y="75434"/>
                      <a:pt x="13000" y="76879"/>
                    </a:cubicBezTo>
                    <a:cubicBezTo>
                      <a:pt x="16050" y="78323"/>
                      <a:pt x="19260" y="79447"/>
                      <a:pt x="22791" y="80089"/>
                    </a:cubicBezTo>
                    <a:cubicBezTo>
                      <a:pt x="26322" y="80731"/>
                      <a:pt x="30174" y="81212"/>
                      <a:pt x="34186" y="81212"/>
                    </a:cubicBezTo>
                    <a:cubicBezTo>
                      <a:pt x="41569" y="81212"/>
                      <a:pt x="46866" y="79928"/>
                      <a:pt x="50396" y="77200"/>
                    </a:cubicBezTo>
                    <a:cubicBezTo>
                      <a:pt x="53927" y="74471"/>
                      <a:pt x="55693" y="71101"/>
                      <a:pt x="55693" y="66607"/>
                    </a:cubicBezTo>
                    <a:cubicBezTo>
                      <a:pt x="55693" y="62113"/>
                      <a:pt x="54409" y="59866"/>
                      <a:pt x="52001" y="57940"/>
                    </a:cubicBezTo>
                    <a:cubicBezTo>
                      <a:pt x="49594" y="55853"/>
                      <a:pt x="45261" y="54248"/>
                      <a:pt x="39162" y="53125"/>
                    </a:cubicBezTo>
                    <a:lnTo>
                      <a:pt x="25680" y="50396"/>
                    </a:lnTo>
                    <a:cubicBezTo>
                      <a:pt x="17494" y="48791"/>
                      <a:pt x="11395" y="45902"/>
                      <a:pt x="7383" y="42051"/>
                    </a:cubicBezTo>
                    <a:cubicBezTo>
                      <a:pt x="3370" y="38199"/>
                      <a:pt x="1444" y="33063"/>
                      <a:pt x="1444" y="26482"/>
                    </a:cubicBezTo>
                    <a:cubicBezTo>
                      <a:pt x="1444" y="19902"/>
                      <a:pt x="2889" y="16531"/>
                      <a:pt x="5617" y="12519"/>
                    </a:cubicBezTo>
                    <a:cubicBezTo>
                      <a:pt x="8506" y="8506"/>
                      <a:pt x="12358" y="5457"/>
                      <a:pt x="17334" y="3210"/>
                    </a:cubicBezTo>
                    <a:cubicBezTo>
                      <a:pt x="22309" y="963"/>
                      <a:pt x="28248" y="0"/>
                      <a:pt x="34989" y="0"/>
                    </a:cubicBezTo>
                    <a:cubicBezTo>
                      <a:pt x="41730" y="0"/>
                      <a:pt x="47026" y="963"/>
                      <a:pt x="52322" y="2728"/>
                    </a:cubicBezTo>
                    <a:cubicBezTo>
                      <a:pt x="57619" y="4654"/>
                      <a:pt x="62113" y="7383"/>
                      <a:pt x="65644" y="10914"/>
                    </a:cubicBezTo>
                    <a:lnTo>
                      <a:pt x="61631" y="19902"/>
                    </a:lnTo>
                    <a:cubicBezTo>
                      <a:pt x="57779" y="16371"/>
                      <a:pt x="53767" y="13963"/>
                      <a:pt x="49433" y="12358"/>
                    </a:cubicBezTo>
                    <a:cubicBezTo>
                      <a:pt x="45100" y="10753"/>
                      <a:pt x="40125" y="9951"/>
                      <a:pt x="34668" y="9951"/>
                    </a:cubicBezTo>
                    <a:cubicBezTo>
                      <a:pt x="29211" y="9951"/>
                      <a:pt x="22791" y="11395"/>
                      <a:pt x="18939" y="14284"/>
                    </a:cubicBezTo>
                    <a:cubicBezTo>
                      <a:pt x="15087" y="17173"/>
                      <a:pt x="13161" y="21025"/>
                      <a:pt x="13161" y="25840"/>
                    </a:cubicBezTo>
                    <a:cubicBezTo>
                      <a:pt x="13161" y="30655"/>
                      <a:pt x="14445" y="32742"/>
                      <a:pt x="16852" y="34989"/>
                    </a:cubicBezTo>
                    <a:cubicBezTo>
                      <a:pt x="19260" y="37236"/>
                      <a:pt x="23272" y="39001"/>
                      <a:pt x="29050" y="40125"/>
                    </a:cubicBezTo>
                    <a:lnTo>
                      <a:pt x="42532" y="42853"/>
                    </a:lnTo>
                    <a:cubicBezTo>
                      <a:pt x="51199" y="44619"/>
                      <a:pt x="57458" y="47186"/>
                      <a:pt x="61471" y="50878"/>
                    </a:cubicBezTo>
                    <a:cubicBezTo>
                      <a:pt x="65483" y="54569"/>
                      <a:pt x="67409" y="59545"/>
                      <a:pt x="67409" y="65965"/>
                    </a:cubicBezTo>
                    <a:cubicBezTo>
                      <a:pt x="67409" y="72385"/>
                      <a:pt x="66125" y="75434"/>
                      <a:pt x="63397" y="79286"/>
                    </a:cubicBezTo>
                    <a:cubicBezTo>
                      <a:pt x="60668" y="83138"/>
                      <a:pt x="56816" y="86027"/>
                      <a:pt x="51841" y="88274"/>
                    </a:cubicBezTo>
                    <a:cubicBezTo>
                      <a:pt x="46866" y="90361"/>
                      <a:pt x="40927" y="91484"/>
                      <a:pt x="34186" y="91484"/>
                    </a:cubicBezTo>
                    <a:close/>
                  </a:path>
                </a:pathLst>
              </a:custGeom>
              <a:solidFill>
                <a:srgbClr val="000000"/>
              </a:solidFill>
              <a:ln w="1598"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B6054B83-CFD6-37AA-BE25-B38B1E58FD20}"/>
                  </a:ext>
                </a:extLst>
              </p:cNvPr>
              <p:cNvSpPr/>
              <p:nvPr/>
            </p:nvSpPr>
            <p:spPr>
              <a:xfrm>
                <a:off x="11409357" y="434573"/>
                <a:ext cx="61952" cy="91965"/>
              </a:xfrm>
              <a:custGeom>
                <a:avLst/>
                <a:gdLst>
                  <a:gd name="connsiteX0" fmla="*/ 1124 w 61952"/>
                  <a:gd name="connsiteY0" fmla="*/ 91805 h 91965"/>
                  <a:gd name="connsiteX1" fmla="*/ 1124 w 61952"/>
                  <a:gd name="connsiteY1" fmla="*/ 16050 h 91965"/>
                  <a:gd name="connsiteX2" fmla="*/ 802 w 61952"/>
                  <a:gd name="connsiteY2" fmla="*/ 8667 h 91965"/>
                  <a:gd name="connsiteX3" fmla="*/ 0 w 61952"/>
                  <a:gd name="connsiteY3" fmla="*/ 1123 h 91965"/>
                  <a:gd name="connsiteX4" fmla="*/ 11074 w 61952"/>
                  <a:gd name="connsiteY4" fmla="*/ 1123 h 91965"/>
                  <a:gd name="connsiteX5" fmla="*/ 12519 w 61952"/>
                  <a:gd name="connsiteY5" fmla="*/ 15729 h 91965"/>
                  <a:gd name="connsiteX6" fmla="*/ 11074 w 61952"/>
                  <a:gd name="connsiteY6" fmla="*/ 15729 h 91965"/>
                  <a:gd name="connsiteX7" fmla="*/ 19099 w 61952"/>
                  <a:gd name="connsiteY7" fmla="*/ 4173 h 91965"/>
                  <a:gd name="connsiteX8" fmla="*/ 33865 w 61952"/>
                  <a:gd name="connsiteY8" fmla="*/ 0 h 91965"/>
                  <a:gd name="connsiteX9" fmla="*/ 48631 w 61952"/>
                  <a:gd name="connsiteY9" fmla="*/ 3852 h 91965"/>
                  <a:gd name="connsiteX10" fmla="*/ 58421 w 61952"/>
                  <a:gd name="connsiteY10" fmla="*/ 15087 h 91965"/>
                  <a:gd name="connsiteX11" fmla="*/ 61952 w 61952"/>
                  <a:gd name="connsiteY11" fmla="*/ 32742 h 91965"/>
                  <a:gd name="connsiteX12" fmla="*/ 58421 w 61952"/>
                  <a:gd name="connsiteY12" fmla="*/ 50396 h 91965"/>
                  <a:gd name="connsiteX13" fmla="*/ 48631 w 61952"/>
                  <a:gd name="connsiteY13" fmla="*/ 61792 h 91965"/>
                  <a:gd name="connsiteX14" fmla="*/ 33865 w 61952"/>
                  <a:gd name="connsiteY14" fmla="*/ 65644 h 91965"/>
                  <a:gd name="connsiteX15" fmla="*/ 19260 w 61952"/>
                  <a:gd name="connsiteY15" fmla="*/ 61471 h 91965"/>
                  <a:gd name="connsiteX16" fmla="*/ 10914 w 61952"/>
                  <a:gd name="connsiteY16" fmla="*/ 50075 h 91965"/>
                  <a:gd name="connsiteX17" fmla="*/ 12358 w 61952"/>
                  <a:gd name="connsiteY17" fmla="*/ 50075 h 91965"/>
                  <a:gd name="connsiteX18" fmla="*/ 12358 w 61952"/>
                  <a:gd name="connsiteY18" fmla="*/ 91965 h 91965"/>
                  <a:gd name="connsiteX19" fmla="*/ 802 w 61952"/>
                  <a:gd name="connsiteY19" fmla="*/ 91965 h 91965"/>
                  <a:gd name="connsiteX20" fmla="*/ 31458 w 61952"/>
                  <a:gd name="connsiteY20" fmla="*/ 56495 h 91965"/>
                  <a:gd name="connsiteX21" fmla="*/ 45421 w 61952"/>
                  <a:gd name="connsiteY21" fmla="*/ 50396 h 91965"/>
                  <a:gd name="connsiteX22" fmla="*/ 50557 w 61952"/>
                  <a:gd name="connsiteY22" fmla="*/ 32581 h 91965"/>
                  <a:gd name="connsiteX23" fmla="*/ 45421 w 61952"/>
                  <a:gd name="connsiteY23" fmla="*/ 14926 h 91965"/>
                  <a:gd name="connsiteX24" fmla="*/ 31458 w 61952"/>
                  <a:gd name="connsiteY24" fmla="*/ 8988 h 91965"/>
                  <a:gd name="connsiteX25" fmla="*/ 17655 w 61952"/>
                  <a:gd name="connsiteY25" fmla="*/ 14926 h 91965"/>
                  <a:gd name="connsiteX26" fmla="*/ 12519 w 61952"/>
                  <a:gd name="connsiteY26" fmla="*/ 32581 h 91965"/>
                  <a:gd name="connsiteX27" fmla="*/ 17655 w 61952"/>
                  <a:gd name="connsiteY27" fmla="*/ 50396 h 91965"/>
                  <a:gd name="connsiteX28" fmla="*/ 31458 w 61952"/>
                  <a:gd name="connsiteY28" fmla="*/ 56495 h 9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952" h="91965">
                    <a:moveTo>
                      <a:pt x="1124" y="91805"/>
                    </a:moveTo>
                    <a:lnTo>
                      <a:pt x="1124" y="16050"/>
                    </a:lnTo>
                    <a:cubicBezTo>
                      <a:pt x="1124" y="13642"/>
                      <a:pt x="1124" y="11074"/>
                      <a:pt x="802" y="8667"/>
                    </a:cubicBezTo>
                    <a:cubicBezTo>
                      <a:pt x="642" y="6099"/>
                      <a:pt x="321" y="3691"/>
                      <a:pt x="0" y="1123"/>
                    </a:cubicBezTo>
                    <a:lnTo>
                      <a:pt x="11074" y="1123"/>
                    </a:lnTo>
                    <a:lnTo>
                      <a:pt x="12519" y="15729"/>
                    </a:lnTo>
                    <a:lnTo>
                      <a:pt x="11074" y="15729"/>
                    </a:lnTo>
                    <a:cubicBezTo>
                      <a:pt x="12358" y="10914"/>
                      <a:pt x="15087" y="7062"/>
                      <a:pt x="19099" y="4173"/>
                    </a:cubicBezTo>
                    <a:cubicBezTo>
                      <a:pt x="23272" y="1284"/>
                      <a:pt x="28087" y="0"/>
                      <a:pt x="33865" y="0"/>
                    </a:cubicBezTo>
                    <a:cubicBezTo>
                      <a:pt x="39643" y="0"/>
                      <a:pt x="44458" y="1284"/>
                      <a:pt x="48631" y="3852"/>
                    </a:cubicBezTo>
                    <a:cubicBezTo>
                      <a:pt x="52804" y="6420"/>
                      <a:pt x="56174" y="10272"/>
                      <a:pt x="58421" y="15087"/>
                    </a:cubicBezTo>
                    <a:cubicBezTo>
                      <a:pt x="60668" y="20062"/>
                      <a:pt x="61952" y="25840"/>
                      <a:pt x="61952" y="32742"/>
                    </a:cubicBezTo>
                    <a:cubicBezTo>
                      <a:pt x="61952" y="39643"/>
                      <a:pt x="60829" y="45421"/>
                      <a:pt x="58421" y="50396"/>
                    </a:cubicBezTo>
                    <a:cubicBezTo>
                      <a:pt x="56174" y="55372"/>
                      <a:pt x="52804" y="59224"/>
                      <a:pt x="48631" y="61792"/>
                    </a:cubicBezTo>
                    <a:cubicBezTo>
                      <a:pt x="44458" y="64360"/>
                      <a:pt x="39483" y="65644"/>
                      <a:pt x="33865" y="65644"/>
                    </a:cubicBezTo>
                    <a:cubicBezTo>
                      <a:pt x="28248" y="65644"/>
                      <a:pt x="23433" y="64199"/>
                      <a:pt x="19260" y="61471"/>
                    </a:cubicBezTo>
                    <a:cubicBezTo>
                      <a:pt x="15247" y="58582"/>
                      <a:pt x="12358" y="54890"/>
                      <a:pt x="10914" y="50075"/>
                    </a:cubicBezTo>
                    <a:lnTo>
                      <a:pt x="12358" y="50075"/>
                    </a:lnTo>
                    <a:lnTo>
                      <a:pt x="12358" y="91965"/>
                    </a:lnTo>
                    <a:lnTo>
                      <a:pt x="802" y="91965"/>
                    </a:lnTo>
                    <a:close/>
                    <a:moveTo>
                      <a:pt x="31458" y="56495"/>
                    </a:moveTo>
                    <a:cubicBezTo>
                      <a:pt x="37236" y="56495"/>
                      <a:pt x="41890" y="54409"/>
                      <a:pt x="45421" y="50396"/>
                    </a:cubicBezTo>
                    <a:cubicBezTo>
                      <a:pt x="48952" y="46384"/>
                      <a:pt x="50557" y="40446"/>
                      <a:pt x="50557" y="32581"/>
                    </a:cubicBezTo>
                    <a:cubicBezTo>
                      <a:pt x="50557" y="24717"/>
                      <a:pt x="48792" y="18778"/>
                      <a:pt x="45421" y="14926"/>
                    </a:cubicBezTo>
                    <a:cubicBezTo>
                      <a:pt x="41890" y="10914"/>
                      <a:pt x="37396" y="8988"/>
                      <a:pt x="31458" y="8988"/>
                    </a:cubicBezTo>
                    <a:cubicBezTo>
                      <a:pt x="25519" y="8988"/>
                      <a:pt x="21025" y="10914"/>
                      <a:pt x="17655" y="14926"/>
                    </a:cubicBezTo>
                    <a:cubicBezTo>
                      <a:pt x="14284" y="18939"/>
                      <a:pt x="12519" y="24717"/>
                      <a:pt x="12519" y="32581"/>
                    </a:cubicBezTo>
                    <a:cubicBezTo>
                      <a:pt x="12519" y="40446"/>
                      <a:pt x="14284" y="46384"/>
                      <a:pt x="17655" y="50396"/>
                    </a:cubicBezTo>
                    <a:cubicBezTo>
                      <a:pt x="21025" y="54409"/>
                      <a:pt x="25680" y="56495"/>
                      <a:pt x="31458" y="56495"/>
                    </a:cubicBezTo>
                    <a:close/>
                  </a:path>
                </a:pathLst>
              </a:custGeom>
              <a:solidFill>
                <a:srgbClr val="000000"/>
              </a:solidFill>
              <a:ln w="1598"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DE432B6F-D127-546D-6E69-955530289D7F}"/>
                  </a:ext>
                </a:extLst>
              </p:cNvPr>
              <p:cNvSpPr/>
              <p:nvPr/>
            </p:nvSpPr>
            <p:spPr>
              <a:xfrm>
                <a:off x="11481902" y="434573"/>
                <a:ext cx="62112" cy="65643"/>
              </a:xfrm>
              <a:custGeom>
                <a:avLst/>
                <a:gdLst>
                  <a:gd name="connsiteX0" fmla="*/ 27927 w 62112"/>
                  <a:gd name="connsiteY0" fmla="*/ 65644 h 65643"/>
                  <a:gd name="connsiteX1" fmla="*/ 13321 w 62112"/>
                  <a:gd name="connsiteY1" fmla="*/ 61792 h 65643"/>
                  <a:gd name="connsiteX2" fmla="*/ 3531 w 62112"/>
                  <a:gd name="connsiteY2" fmla="*/ 50396 h 65643"/>
                  <a:gd name="connsiteX3" fmla="*/ 0 w 62112"/>
                  <a:gd name="connsiteY3" fmla="*/ 32742 h 65643"/>
                  <a:gd name="connsiteX4" fmla="*/ 3531 w 62112"/>
                  <a:gd name="connsiteY4" fmla="*/ 15087 h 65643"/>
                  <a:gd name="connsiteX5" fmla="*/ 13321 w 62112"/>
                  <a:gd name="connsiteY5" fmla="*/ 3852 h 65643"/>
                  <a:gd name="connsiteX6" fmla="*/ 27927 w 62112"/>
                  <a:gd name="connsiteY6" fmla="*/ 0 h 65643"/>
                  <a:gd name="connsiteX7" fmla="*/ 42692 w 62112"/>
                  <a:gd name="connsiteY7" fmla="*/ 4173 h 65643"/>
                  <a:gd name="connsiteX8" fmla="*/ 51038 w 62112"/>
                  <a:gd name="connsiteY8" fmla="*/ 15729 h 65643"/>
                  <a:gd name="connsiteX9" fmla="*/ 49594 w 62112"/>
                  <a:gd name="connsiteY9" fmla="*/ 15729 h 65643"/>
                  <a:gd name="connsiteX10" fmla="*/ 51038 w 62112"/>
                  <a:gd name="connsiteY10" fmla="*/ 1123 h 65643"/>
                  <a:gd name="connsiteX11" fmla="*/ 62113 w 62112"/>
                  <a:gd name="connsiteY11" fmla="*/ 1123 h 65643"/>
                  <a:gd name="connsiteX12" fmla="*/ 61471 w 62112"/>
                  <a:gd name="connsiteY12" fmla="*/ 8667 h 65643"/>
                  <a:gd name="connsiteX13" fmla="*/ 61150 w 62112"/>
                  <a:gd name="connsiteY13" fmla="*/ 16050 h 65643"/>
                  <a:gd name="connsiteX14" fmla="*/ 61150 w 62112"/>
                  <a:gd name="connsiteY14" fmla="*/ 64520 h 65643"/>
                  <a:gd name="connsiteX15" fmla="*/ 49594 w 62112"/>
                  <a:gd name="connsiteY15" fmla="*/ 64520 h 65643"/>
                  <a:gd name="connsiteX16" fmla="*/ 49594 w 62112"/>
                  <a:gd name="connsiteY16" fmla="*/ 49915 h 65643"/>
                  <a:gd name="connsiteX17" fmla="*/ 51038 w 62112"/>
                  <a:gd name="connsiteY17" fmla="*/ 49915 h 65643"/>
                  <a:gd name="connsiteX18" fmla="*/ 42692 w 62112"/>
                  <a:gd name="connsiteY18" fmla="*/ 61310 h 65643"/>
                  <a:gd name="connsiteX19" fmla="*/ 28087 w 62112"/>
                  <a:gd name="connsiteY19" fmla="*/ 65483 h 65643"/>
                  <a:gd name="connsiteX20" fmla="*/ 30655 w 62112"/>
                  <a:gd name="connsiteY20" fmla="*/ 56495 h 65643"/>
                  <a:gd name="connsiteX21" fmla="*/ 44458 w 62112"/>
                  <a:gd name="connsiteY21" fmla="*/ 50396 h 65643"/>
                  <a:gd name="connsiteX22" fmla="*/ 49594 w 62112"/>
                  <a:gd name="connsiteY22" fmla="*/ 32581 h 65643"/>
                  <a:gd name="connsiteX23" fmla="*/ 44458 w 62112"/>
                  <a:gd name="connsiteY23" fmla="*/ 14926 h 65643"/>
                  <a:gd name="connsiteX24" fmla="*/ 30655 w 62112"/>
                  <a:gd name="connsiteY24" fmla="*/ 8988 h 65643"/>
                  <a:gd name="connsiteX25" fmla="*/ 16852 w 62112"/>
                  <a:gd name="connsiteY25" fmla="*/ 14926 h 65643"/>
                  <a:gd name="connsiteX26" fmla="*/ 11556 w 62112"/>
                  <a:gd name="connsiteY26" fmla="*/ 32581 h 65643"/>
                  <a:gd name="connsiteX27" fmla="*/ 16692 w 62112"/>
                  <a:gd name="connsiteY27" fmla="*/ 50396 h 65643"/>
                  <a:gd name="connsiteX28" fmla="*/ 30655 w 62112"/>
                  <a:gd name="connsiteY28" fmla="*/ 56495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112" h="65643">
                    <a:moveTo>
                      <a:pt x="27927" y="65644"/>
                    </a:moveTo>
                    <a:cubicBezTo>
                      <a:pt x="22309" y="65644"/>
                      <a:pt x="17494" y="64360"/>
                      <a:pt x="13321" y="61792"/>
                    </a:cubicBezTo>
                    <a:cubicBezTo>
                      <a:pt x="9148" y="59224"/>
                      <a:pt x="5778" y="55372"/>
                      <a:pt x="3531" y="50396"/>
                    </a:cubicBezTo>
                    <a:cubicBezTo>
                      <a:pt x="1124" y="45421"/>
                      <a:pt x="0" y="39483"/>
                      <a:pt x="0" y="32742"/>
                    </a:cubicBezTo>
                    <a:cubicBezTo>
                      <a:pt x="0" y="26001"/>
                      <a:pt x="1124" y="20062"/>
                      <a:pt x="3531" y="15087"/>
                    </a:cubicBezTo>
                    <a:cubicBezTo>
                      <a:pt x="5938" y="10111"/>
                      <a:pt x="9148" y="6420"/>
                      <a:pt x="13321" y="3852"/>
                    </a:cubicBezTo>
                    <a:cubicBezTo>
                      <a:pt x="17494" y="1284"/>
                      <a:pt x="22470" y="0"/>
                      <a:pt x="27927" y="0"/>
                    </a:cubicBezTo>
                    <a:cubicBezTo>
                      <a:pt x="33384" y="0"/>
                      <a:pt x="38520" y="1444"/>
                      <a:pt x="42692" y="4173"/>
                    </a:cubicBezTo>
                    <a:cubicBezTo>
                      <a:pt x="46866" y="7062"/>
                      <a:pt x="49594" y="10914"/>
                      <a:pt x="51038" y="15729"/>
                    </a:cubicBezTo>
                    <a:lnTo>
                      <a:pt x="49594" y="15729"/>
                    </a:lnTo>
                    <a:lnTo>
                      <a:pt x="51038" y="1123"/>
                    </a:lnTo>
                    <a:lnTo>
                      <a:pt x="62113" y="1123"/>
                    </a:lnTo>
                    <a:cubicBezTo>
                      <a:pt x="61792" y="3691"/>
                      <a:pt x="61631" y="6099"/>
                      <a:pt x="61471" y="8667"/>
                    </a:cubicBezTo>
                    <a:cubicBezTo>
                      <a:pt x="61310" y="11235"/>
                      <a:pt x="61150" y="13642"/>
                      <a:pt x="61150" y="16050"/>
                    </a:cubicBezTo>
                    <a:lnTo>
                      <a:pt x="61150" y="64520"/>
                    </a:lnTo>
                    <a:lnTo>
                      <a:pt x="49594" y="64520"/>
                    </a:lnTo>
                    <a:lnTo>
                      <a:pt x="49594" y="49915"/>
                    </a:lnTo>
                    <a:lnTo>
                      <a:pt x="51038" y="49915"/>
                    </a:lnTo>
                    <a:cubicBezTo>
                      <a:pt x="49754" y="54730"/>
                      <a:pt x="46866" y="58582"/>
                      <a:pt x="42692" y="61310"/>
                    </a:cubicBezTo>
                    <a:cubicBezTo>
                      <a:pt x="38520" y="64199"/>
                      <a:pt x="33705" y="65483"/>
                      <a:pt x="28087" y="65483"/>
                    </a:cubicBezTo>
                    <a:close/>
                    <a:moveTo>
                      <a:pt x="30655" y="56495"/>
                    </a:moveTo>
                    <a:cubicBezTo>
                      <a:pt x="36433" y="56495"/>
                      <a:pt x="40927" y="54409"/>
                      <a:pt x="44458" y="50396"/>
                    </a:cubicBezTo>
                    <a:cubicBezTo>
                      <a:pt x="47989" y="46384"/>
                      <a:pt x="49594" y="40446"/>
                      <a:pt x="49594" y="32581"/>
                    </a:cubicBezTo>
                    <a:cubicBezTo>
                      <a:pt x="49594" y="24717"/>
                      <a:pt x="47828" y="18778"/>
                      <a:pt x="44458" y="14926"/>
                    </a:cubicBezTo>
                    <a:cubicBezTo>
                      <a:pt x="40927" y="10914"/>
                      <a:pt x="36433" y="8988"/>
                      <a:pt x="30655" y="8988"/>
                    </a:cubicBezTo>
                    <a:cubicBezTo>
                      <a:pt x="24877" y="8988"/>
                      <a:pt x="20383" y="10914"/>
                      <a:pt x="16852" y="14926"/>
                    </a:cubicBezTo>
                    <a:cubicBezTo>
                      <a:pt x="13321" y="18939"/>
                      <a:pt x="11556" y="24717"/>
                      <a:pt x="11556" y="32581"/>
                    </a:cubicBezTo>
                    <a:cubicBezTo>
                      <a:pt x="11556" y="40446"/>
                      <a:pt x="13321" y="46384"/>
                      <a:pt x="16692" y="50396"/>
                    </a:cubicBezTo>
                    <a:cubicBezTo>
                      <a:pt x="20223" y="54409"/>
                      <a:pt x="24717" y="56495"/>
                      <a:pt x="30655" y="56495"/>
                    </a:cubicBezTo>
                    <a:close/>
                  </a:path>
                </a:pathLst>
              </a:custGeom>
              <a:solidFill>
                <a:srgbClr val="000000"/>
              </a:solidFill>
              <a:ln w="1598"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D5EFA5A-13BB-6EAC-BEB2-1A1BDE7DCF81}"/>
                  </a:ext>
                </a:extLst>
              </p:cNvPr>
              <p:cNvSpPr/>
              <p:nvPr/>
            </p:nvSpPr>
            <p:spPr>
              <a:xfrm>
                <a:off x="11557175" y="434413"/>
                <a:ext cx="52803" cy="65804"/>
              </a:xfrm>
              <a:custGeom>
                <a:avLst/>
                <a:gdLst>
                  <a:gd name="connsiteX0" fmla="*/ 30976 w 52803"/>
                  <a:gd name="connsiteY0" fmla="*/ 65804 h 65804"/>
                  <a:gd name="connsiteX1" fmla="*/ 14605 w 52803"/>
                  <a:gd name="connsiteY1" fmla="*/ 61792 h 65804"/>
                  <a:gd name="connsiteX2" fmla="*/ 3852 w 52803"/>
                  <a:gd name="connsiteY2" fmla="*/ 50236 h 65804"/>
                  <a:gd name="connsiteX3" fmla="*/ 0 w 52803"/>
                  <a:gd name="connsiteY3" fmla="*/ 32421 h 65804"/>
                  <a:gd name="connsiteX4" fmla="*/ 3852 w 52803"/>
                  <a:gd name="connsiteY4" fmla="*/ 14926 h 65804"/>
                  <a:gd name="connsiteX5" fmla="*/ 14766 w 52803"/>
                  <a:gd name="connsiteY5" fmla="*/ 3852 h 65804"/>
                  <a:gd name="connsiteX6" fmla="*/ 31137 w 52803"/>
                  <a:gd name="connsiteY6" fmla="*/ 0 h 65804"/>
                  <a:gd name="connsiteX7" fmla="*/ 43174 w 52803"/>
                  <a:gd name="connsiteY7" fmla="*/ 2086 h 65804"/>
                  <a:gd name="connsiteX8" fmla="*/ 52643 w 52803"/>
                  <a:gd name="connsiteY8" fmla="*/ 8025 h 65804"/>
                  <a:gd name="connsiteX9" fmla="*/ 48791 w 52803"/>
                  <a:gd name="connsiteY9" fmla="*/ 16050 h 65804"/>
                  <a:gd name="connsiteX10" fmla="*/ 40766 w 52803"/>
                  <a:gd name="connsiteY10" fmla="*/ 10753 h 65804"/>
                  <a:gd name="connsiteX11" fmla="*/ 32100 w 52803"/>
                  <a:gd name="connsiteY11" fmla="*/ 8988 h 65804"/>
                  <a:gd name="connsiteX12" fmla="*/ 17494 w 52803"/>
                  <a:gd name="connsiteY12" fmla="*/ 14926 h 65804"/>
                  <a:gd name="connsiteX13" fmla="*/ 12198 w 52803"/>
                  <a:gd name="connsiteY13" fmla="*/ 32260 h 65804"/>
                  <a:gd name="connsiteX14" fmla="*/ 17494 w 52803"/>
                  <a:gd name="connsiteY14" fmla="*/ 49915 h 65804"/>
                  <a:gd name="connsiteX15" fmla="*/ 32100 w 52803"/>
                  <a:gd name="connsiteY15" fmla="*/ 56174 h 65804"/>
                  <a:gd name="connsiteX16" fmla="*/ 40766 w 52803"/>
                  <a:gd name="connsiteY16" fmla="*/ 54569 h 65804"/>
                  <a:gd name="connsiteX17" fmla="*/ 48952 w 52803"/>
                  <a:gd name="connsiteY17" fmla="*/ 49433 h 65804"/>
                  <a:gd name="connsiteX18" fmla="*/ 52804 w 52803"/>
                  <a:gd name="connsiteY18" fmla="*/ 57458 h 65804"/>
                  <a:gd name="connsiteX19" fmla="*/ 43174 w 52803"/>
                  <a:gd name="connsiteY19" fmla="*/ 63557 h 65804"/>
                  <a:gd name="connsiteX20" fmla="*/ 31297 w 52803"/>
                  <a:gd name="connsiteY20" fmla="*/ 65644 h 6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803" h="65804">
                    <a:moveTo>
                      <a:pt x="30976" y="65804"/>
                    </a:moveTo>
                    <a:cubicBezTo>
                      <a:pt x="24717" y="65804"/>
                      <a:pt x="19260" y="64520"/>
                      <a:pt x="14605" y="61792"/>
                    </a:cubicBezTo>
                    <a:cubicBezTo>
                      <a:pt x="9951" y="59063"/>
                      <a:pt x="6420" y="55372"/>
                      <a:pt x="3852" y="50236"/>
                    </a:cubicBezTo>
                    <a:cubicBezTo>
                      <a:pt x="1284" y="45261"/>
                      <a:pt x="0" y="39322"/>
                      <a:pt x="0" y="32421"/>
                    </a:cubicBezTo>
                    <a:cubicBezTo>
                      <a:pt x="0" y="25519"/>
                      <a:pt x="1284" y="19741"/>
                      <a:pt x="3852" y="14926"/>
                    </a:cubicBezTo>
                    <a:cubicBezTo>
                      <a:pt x="6420" y="10111"/>
                      <a:pt x="10111" y="6420"/>
                      <a:pt x="14766" y="3852"/>
                    </a:cubicBezTo>
                    <a:cubicBezTo>
                      <a:pt x="19420" y="1284"/>
                      <a:pt x="24877" y="0"/>
                      <a:pt x="31137" y="0"/>
                    </a:cubicBezTo>
                    <a:cubicBezTo>
                      <a:pt x="37396" y="0"/>
                      <a:pt x="39322" y="642"/>
                      <a:pt x="43174" y="2086"/>
                    </a:cubicBezTo>
                    <a:cubicBezTo>
                      <a:pt x="47026" y="3531"/>
                      <a:pt x="50236" y="5457"/>
                      <a:pt x="52643" y="8025"/>
                    </a:cubicBezTo>
                    <a:lnTo>
                      <a:pt x="48791" y="16050"/>
                    </a:lnTo>
                    <a:cubicBezTo>
                      <a:pt x="46384" y="13642"/>
                      <a:pt x="43655" y="11877"/>
                      <a:pt x="40766" y="10753"/>
                    </a:cubicBezTo>
                    <a:cubicBezTo>
                      <a:pt x="37878" y="9630"/>
                      <a:pt x="34989" y="8988"/>
                      <a:pt x="32100" y="8988"/>
                    </a:cubicBezTo>
                    <a:cubicBezTo>
                      <a:pt x="25840" y="8988"/>
                      <a:pt x="21025" y="10914"/>
                      <a:pt x="17494" y="14926"/>
                    </a:cubicBezTo>
                    <a:cubicBezTo>
                      <a:pt x="13963" y="18939"/>
                      <a:pt x="12198" y="24717"/>
                      <a:pt x="12198" y="32260"/>
                    </a:cubicBezTo>
                    <a:cubicBezTo>
                      <a:pt x="12198" y="39804"/>
                      <a:pt x="13963" y="45903"/>
                      <a:pt x="17494" y="49915"/>
                    </a:cubicBezTo>
                    <a:cubicBezTo>
                      <a:pt x="21025" y="54088"/>
                      <a:pt x="25840" y="56174"/>
                      <a:pt x="32100" y="56174"/>
                    </a:cubicBezTo>
                    <a:cubicBezTo>
                      <a:pt x="38359" y="56174"/>
                      <a:pt x="37717" y="55693"/>
                      <a:pt x="40766" y="54569"/>
                    </a:cubicBezTo>
                    <a:cubicBezTo>
                      <a:pt x="43655" y="53446"/>
                      <a:pt x="46384" y="51680"/>
                      <a:pt x="48952" y="49433"/>
                    </a:cubicBezTo>
                    <a:lnTo>
                      <a:pt x="52804" y="57458"/>
                    </a:lnTo>
                    <a:cubicBezTo>
                      <a:pt x="50236" y="60187"/>
                      <a:pt x="47026" y="62273"/>
                      <a:pt x="43174" y="63557"/>
                    </a:cubicBezTo>
                    <a:cubicBezTo>
                      <a:pt x="39322" y="65002"/>
                      <a:pt x="35310" y="65644"/>
                      <a:pt x="31297" y="65644"/>
                    </a:cubicBezTo>
                    <a:close/>
                  </a:path>
                </a:pathLst>
              </a:custGeom>
              <a:solidFill>
                <a:srgbClr val="000000"/>
              </a:solidFill>
              <a:ln w="1598"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8E0F82A1-180D-3010-883B-9DC72F16E15A}"/>
                  </a:ext>
                </a:extLst>
              </p:cNvPr>
              <p:cNvSpPr/>
              <p:nvPr/>
            </p:nvSpPr>
            <p:spPr>
              <a:xfrm>
                <a:off x="11617202" y="434252"/>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1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6 w 57618"/>
                  <a:gd name="connsiteY21" fmla="*/ 55051 h 65964"/>
                  <a:gd name="connsiteX22" fmla="*/ 53125 w 57618"/>
                  <a:gd name="connsiteY22" fmla="*/ 49594 h 65964"/>
                  <a:gd name="connsiteX23" fmla="*/ 56977 w 57618"/>
                  <a:gd name="connsiteY23" fmla="*/ 57619 h 65964"/>
                  <a:gd name="connsiteX24" fmla="*/ 46223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50"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1"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3" y="17334"/>
                      <a:pt x="43335" y="13803"/>
                    </a:cubicBezTo>
                    <a:cubicBezTo>
                      <a:pt x="40446"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6" y="56174"/>
                      <a:pt x="43656" y="55051"/>
                    </a:cubicBezTo>
                    <a:cubicBezTo>
                      <a:pt x="46866" y="53927"/>
                      <a:pt x="50075" y="52162"/>
                      <a:pt x="53125" y="49594"/>
                    </a:cubicBezTo>
                    <a:lnTo>
                      <a:pt x="56977" y="57619"/>
                    </a:lnTo>
                    <a:cubicBezTo>
                      <a:pt x="54088" y="60187"/>
                      <a:pt x="50557" y="62273"/>
                      <a:pt x="46223"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E2AB9685-D11A-484D-F48A-EB0C1A5E1B79}"/>
                  </a:ext>
                </a:extLst>
              </p:cNvPr>
              <p:cNvSpPr/>
              <p:nvPr/>
            </p:nvSpPr>
            <p:spPr>
              <a:xfrm>
                <a:off x="11709328" y="408733"/>
                <a:ext cx="81212" cy="91483"/>
              </a:xfrm>
              <a:custGeom>
                <a:avLst/>
                <a:gdLst>
                  <a:gd name="connsiteX0" fmla="*/ 76718 w 81212"/>
                  <a:gd name="connsiteY0" fmla="*/ 91484 h 91483"/>
                  <a:gd name="connsiteX1" fmla="*/ 65804 w 81212"/>
                  <a:gd name="connsiteY1" fmla="*/ 85225 h 91483"/>
                  <a:gd name="connsiteX2" fmla="*/ 56977 w 81212"/>
                  <a:gd name="connsiteY2" fmla="*/ 77842 h 91483"/>
                  <a:gd name="connsiteX3" fmla="*/ 59705 w 81212"/>
                  <a:gd name="connsiteY3" fmla="*/ 77842 h 91483"/>
                  <a:gd name="connsiteX4" fmla="*/ 46384 w 81212"/>
                  <a:gd name="connsiteY4" fmla="*/ 87953 h 91483"/>
                  <a:gd name="connsiteX5" fmla="*/ 29692 w 81212"/>
                  <a:gd name="connsiteY5" fmla="*/ 91484 h 91483"/>
                  <a:gd name="connsiteX6" fmla="*/ 13803 w 81212"/>
                  <a:gd name="connsiteY6" fmla="*/ 88595 h 91483"/>
                  <a:gd name="connsiteX7" fmla="*/ 3531 w 81212"/>
                  <a:gd name="connsiteY7" fmla="*/ 80570 h 91483"/>
                  <a:gd name="connsiteX8" fmla="*/ 0 w 81212"/>
                  <a:gd name="connsiteY8" fmla="*/ 68533 h 91483"/>
                  <a:gd name="connsiteX9" fmla="*/ 4975 w 81212"/>
                  <a:gd name="connsiteY9" fmla="*/ 53767 h 91483"/>
                  <a:gd name="connsiteX10" fmla="*/ 19260 w 81212"/>
                  <a:gd name="connsiteY10" fmla="*/ 41890 h 91483"/>
                  <a:gd name="connsiteX11" fmla="*/ 23433 w 81212"/>
                  <a:gd name="connsiteY11" fmla="*/ 39322 h 91483"/>
                  <a:gd name="connsiteX12" fmla="*/ 21828 w 81212"/>
                  <a:gd name="connsiteY12" fmla="*/ 41409 h 91483"/>
                  <a:gd name="connsiteX13" fmla="*/ 13321 w 81212"/>
                  <a:gd name="connsiteY13" fmla="*/ 30334 h 91483"/>
                  <a:gd name="connsiteX14" fmla="*/ 10593 w 81212"/>
                  <a:gd name="connsiteY14" fmla="*/ 19902 h 91483"/>
                  <a:gd name="connsiteX15" fmla="*/ 13482 w 81212"/>
                  <a:gd name="connsiteY15" fmla="*/ 9469 h 91483"/>
                  <a:gd name="connsiteX16" fmla="*/ 21507 w 81212"/>
                  <a:gd name="connsiteY16" fmla="*/ 2568 h 91483"/>
                  <a:gd name="connsiteX17" fmla="*/ 33705 w 81212"/>
                  <a:gd name="connsiteY17" fmla="*/ 0 h 91483"/>
                  <a:gd name="connsiteX18" fmla="*/ 48470 w 81212"/>
                  <a:gd name="connsiteY18" fmla="*/ 4975 h 91483"/>
                  <a:gd name="connsiteX19" fmla="*/ 54248 w 81212"/>
                  <a:gd name="connsiteY19" fmla="*/ 18297 h 91483"/>
                  <a:gd name="connsiteX20" fmla="*/ 52483 w 81212"/>
                  <a:gd name="connsiteY20" fmla="*/ 26964 h 91483"/>
                  <a:gd name="connsiteX21" fmla="*/ 46384 w 81212"/>
                  <a:gd name="connsiteY21" fmla="*/ 34828 h 91483"/>
                  <a:gd name="connsiteX22" fmla="*/ 34989 w 81212"/>
                  <a:gd name="connsiteY22" fmla="*/ 43014 h 91483"/>
                  <a:gd name="connsiteX23" fmla="*/ 35310 w 81212"/>
                  <a:gd name="connsiteY23" fmla="*/ 40446 h 91483"/>
                  <a:gd name="connsiteX24" fmla="*/ 59384 w 81212"/>
                  <a:gd name="connsiteY24" fmla="*/ 66286 h 91483"/>
                  <a:gd name="connsiteX25" fmla="*/ 56816 w 81212"/>
                  <a:gd name="connsiteY25" fmla="*/ 66286 h 91483"/>
                  <a:gd name="connsiteX26" fmla="*/ 61952 w 81212"/>
                  <a:gd name="connsiteY26" fmla="*/ 53606 h 91483"/>
                  <a:gd name="connsiteX27" fmla="*/ 64039 w 81212"/>
                  <a:gd name="connsiteY27" fmla="*/ 37878 h 91483"/>
                  <a:gd name="connsiteX28" fmla="*/ 73990 w 81212"/>
                  <a:gd name="connsiteY28" fmla="*/ 37878 h 91483"/>
                  <a:gd name="connsiteX29" fmla="*/ 70940 w 81212"/>
                  <a:gd name="connsiteY29" fmla="*/ 57458 h 91483"/>
                  <a:gd name="connsiteX30" fmla="*/ 63557 w 81212"/>
                  <a:gd name="connsiteY30" fmla="*/ 73348 h 91483"/>
                  <a:gd name="connsiteX31" fmla="*/ 63557 w 81212"/>
                  <a:gd name="connsiteY31" fmla="*/ 70138 h 91483"/>
                  <a:gd name="connsiteX32" fmla="*/ 71261 w 81212"/>
                  <a:gd name="connsiteY32" fmla="*/ 77200 h 91483"/>
                  <a:gd name="connsiteX33" fmla="*/ 81212 w 81212"/>
                  <a:gd name="connsiteY33" fmla="*/ 83138 h 91483"/>
                  <a:gd name="connsiteX34" fmla="*/ 76718 w 81212"/>
                  <a:gd name="connsiteY34" fmla="*/ 91484 h 91483"/>
                  <a:gd name="connsiteX35" fmla="*/ 30334 w 81212"/>
                  <a:gd name="connsiteY35" fmla="*/ 82175 h 91483"/>
                  <a:gd name="connsiteX36" fmla="*/ 43334 w 81212"/>
                  <a:gd name="connsiteY36" fmla="*/ 79286 h 91483"/>
                  <a:gd name="connsiteX37" fmla="*/ 53285 w 81212"/>
                  <a:gd name="connsiteY37" fmla="*/ 70780 h 91483"/>
                  <a:gd name="connsiteX38" fmla="*/ 52964 w 81212"/>
                  <a:gd name="connsiteY38" fmla="*/ 73990 h 91483"/>
                  <a:gd name="connsiteX39" fmla="*/ 25680 w 81212"/>
                  <a:gd name="connsiteY39" fmla="*/ 45261 h 91483"/>
                  <a:gd name="connsiteX40" fmla="*/ 30174 w 81212"/>
                  <a:gd name="connsiteY40" fmla="*/ 45261 h 91483"/>
                  <a:gd name="connsiteX41" fmla="*/ 26322 w 81212"/>
                  <a:gd name="connsiteY41" fmla="*/ 47668 h 91483"/>
                  <a:gd name="connsiteX42" fmla="*/ 17976 w 81212"/>
                  <a:gd name="connsiteY42" fmla="*/ 53927 h 91483"/>
                  <a:gd name="connsiteX43" fmla="*/ 13161 w 81212"/>
                  <a:gd name="connsiteY43" fmla="*/ 60187 h 91483"/>
                  <a:gd name="connsiteX44" fmla="*/ 11556 w 81212"/>
                  <a:gd name="connsiteY44" fmla="*/ 67730 h 91483"/>
                  <a:gd name="connsiteX45" fmla="*/ 16371 w 81212"/>
                  <a:gd name="connsiteY45" fmla="*/ 78163 h 91483"/>
                  <a:gd name="connsiteX46" fmla="*/ 30334 w 81212"/>
                  <a:gd name="connsiteY46" fmla="*/ 82015 h 91483"/>
                  <a:gd name="connsiteX47" fmla="*/ 33865 w 81212"/>
                  <a:gd name="connsiteY47" fmla="*/ 8506 h 91483"/>
                  <a:gd name="connsiteX48" fmla="*/ 24877 w 81212"/>
                  <a:gd name="connsiteY48" fmla="*/ 11716 h 91483"/>
                  <a:gd name="connsiteX49" fmla="*/ 21507 w 81212"/>
                  <a:gd name="connsiteY49" fmla="*/ 20062 h 91483"/>
                  <a:gd name="connsiteX50" fmla="*/ 22470 w 81212"/>
                  <a:gd name="connsiteY50" fmla="*/ 25038 h 91483"/>
                  <a:gd name="connsiteX51" fmla="*/ 25680 w 81212"/>
                  <a:gd name="connsiteY51" fmla="*/ 30013 h 91483"/>
                  <a:gd name="connsiteX52" fmla="*/ 31618 w 81212"/>
                  <a:gd name="connsiteY52" fmla="*/ 36915 h 91483"/>
                  <a:gd name="connsiteX53" fmla="*/ 28569 w 81212"/>
                  <a:gd name="connsiteY53" fmla="*/ 37236 h 91483"/>
                  <a:gd name="connsiteX54" fmla="*/ 41088 w 81212"/>
                  <a:gd name="connsiteY54" fmla="*/ 28087 h 91483"/>
                  <a:gd name="connsiteX55" fmla="*/ 44939 w 81212"/>
                  <a:gd name="connsiteY55" fmla="*/ 19099 h 91483"/>
                  <a:gd name="connsiteX56" fmla="*/ 41890 w 81212"/>
                  <a:gd name="connsiteY56" fmla="*/ 11395 h 91483"/>
                  <a:gd name="connsiteX57" fmla="*/ 33865 w 81212"/>
                  <a:gd name="connsiteY57" fmla="*/ 8506 h 9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1212" h="91483">
                    <a:moveTo>
                      <a:pt x="76718" y="91484"/>
                    </a:moveTo>
                    <a:cubicBezTo>
                      <a:pt x="72866" y="89879"/>
                      <a:pt x="69175" y="87793"/>
                      <a:pt x="65804" y="85225"/>
                    </a:cubicBezTo>
                    <a:cubicBezTo>
                      <a:pt x="62434" y="82817"/>
                      <a:pt x="59545" y="80249"/>
                      <a:pt x="56977" y="77842"/>
                    </a:cubicBezTo>
                    <a:lnTo>
                      <a:pt x="59705" y="77842"/>
                    </a:lnTo>
                    <a:cubicBezTo>
                      <a:pt x="56014" y="82175"/>
                      <a:pt x="51520" y="85546"/>
                      <a:pt x="46384" y="87953"/>
                    </a:cubicBezTo>
                    <a:cubicBezTo>
                      <a:pt x="41248" y="90361"/>
                      <a:pt x="35631" y="91484"/>
                      <a:pt x="29692" y="91484"/>
                    </a:cubicBezTo>
                    <a:cubicBezTo>
                      <a:pt x="23754" y="91484"/>
                      <a:pt x="18297" y="90521"/>
                      <a:pt x="13803" y="88595"/>
                    </a:cubicBezTo>
                    <a:cubicBezTo>
                      <a:pt x="9309" y="86669"/>
                      <a:pt x="5938" y="84101"/>
                      <a:pt x="3531" y="80570"/>
                    </a:cubicBezTo>
                    <a:cubicBezTo>
                      <a:pt x="1124" y="77200"/>
                      <a:pt x="0" y="73187"/>
                      <a:pt x="0" y="68533"/>
                    </a:cubicBezTo>
                    <a:cubicBezTo>
                      <a:pt x="0" y="63878"/>
                      <a:pt x="1605" y="57940"/>
                      <a:pt x="4975" y="53767"/>
                    </a:cubicBezTo>
                    <a:cubicBezTo>
                      <a:pt x="8346" y="49754"/>
                      <a:pt x="13161" y="45742"/>
                      <a:pt x="19260" y="41890"/>
                    </a:cubicBezTo>
                    <a:lnTo>
                      <a:pt x="23433" y="39322"/>
                    </a:lnTo>
                    <a:lnTo>
                      <a:pt x="21828" y="41409"/>
                    </a:lnTo>
                    <a:cubicBezTo>
                      <a:pt x="17976" y="37396"/>
                      <a:pt x="15087" y="33705"/>
                      <a:pt x="13321" y="30334"/>
                    </a:cubicBezTo>
                    <a:cubicBezTo>
                      <a:pt x="11556" y="26964"/>
                      <a:pt x="10593" y="23593"/>
                      <a:pt x="10593" y="19902"/>
                    </a:cubicBezTo>
                    <a:cubicBezTo>
                      <a:pt x="10593" y="16210"/>
                      <a:pt x="11556" y="12519"/>
                      <a:pt x="13482" y="9469"/>
                    </a:cubicBezTo>
                    <a:cubicBezTo>
                      <a:pt x="15408" y="6580"/>
                      <a:pt x="17976" y="4173"/>
                      <a:pt x="21507" y="2568"/>
                    </a:cubicBezTo>
                    <a:cubicBezTo>
                      <a:pt x="25038" y="963"/>
                      <a:pt x="29050" y="0"/>
                      <a:pt x="33705" y="0"/>
                    </a:cubicBezTo>
                    <a:cubicBezTo>
                      <a:pt x="38359" y="0"/>
                      <a:pt x="44618" y="1605"/>
                      <a:pt x="48470" y="4975"/>
                    </a:cubicBezTo>
                    <a:cubicBezTo>
                      <a:pt x="52322" y="8185"/>
                      <a:pt x="54248" y="12679"/>
                      <a:pt x="54248" y="18297"/>
                    </a:cubicBezTo>
                    <a:cubicBezTo>
                      <a:pt x="54248" y="23914"/>
                      <a:pt x="53606" y="24235"/>
                      <a:pt x="52483" y="26964"/>
                    </a:cubicBezTo>
                    <a:cubicBezTo>
                      <a:pt x="51199" y="29692"/>
                      <a:pt x="49273" y="32260"/>
                      <a:pt x="46384" y="34828"/>
                    </a:cubicBezTo>
                    <a:cubicBezTo>
                      <a:pt x="43495" y="37396"/>
                      <a:pt x="39804" y="40125"/>
                      <a:pt x="34989" y="43014"/>
                    </a:cubicBezTo>
                    <a:lnTo>
                      <a:pt x="35310" y="40446"/>
                    </a:lnTo>
                    <a:lnTo>
                      <a:pt x="59384" y="66286"/>
                    </a:lnTo>
                    <a:lnTo>
                      <a:pt x="56816" y="66286"/>
                    </a:lnTo>
                    <a:cubicBezTo>
                      <a:pt x="59063" y="62755"/>
                      <a:pt x="60668" y="58582"/>
                      <a:pt x="61952" y="53606"/>
                    </a:cubicBezTo>
                    <a:cubicBezTo>
                      <a:pt x="63236" y="48631"/>
                      <a:pt x="63878" y="43495"/>
                      <a:pt x="64039" y="37878"/>
                    </a:cubicBezTo>
                    <a:lnTo>
                      <a:pt x="73990" y="37878"/>
                    </a:lnTo>
                    <a:cubicBezTo>
                      <a:pt x="73669" y="44940"/>
                      <a:pt x="72706" y="51359"/>
                      <a:pt x="70940" y="57458"/>
                    </a:cubicBezTo>
                    <a:cubicBezTo>
                      <a:pt x="69175" y="63557"/>
                      <a:pt x="66767" y="68854"/>
                      <a:pt x="63557" y="73348"/>
                    </a:cubicBezTo>
                    <a:lnTo>
                      <a:pt x="63557" y="70138"/>
                    </a:lnTo>
                    <a:cubicBezTo>
                      <a:pt x="65644" y="72545"/>
                      <a:pt x="68212" y="74792"/>
                      <a:pt x="71261" y="77200"/>
                    </a:cubicBezTo>
                    <a:cubicBezTo>
                      <a:pt x="74311" y="79447"/>
                      <a:pt x="77681" y="81533"/>
                      <a:pt x="81212" y="83138"/>
                    </a:cubicBezTo>
                    <a:lnTo>
                      <a:pt x="76718" y="91484"/>
                    </a:lnTo>
                    <a:close/>
                    <a:moveTo>
                      <a:pt x="30334" y="82175"/>
                    </a:moveTo>
                    <a:cubicBezTo>
                      <a:pt x="35149" y="82175"/>
                      <a:pt x="39483" y="81212"/>
                      <a:pt x="43334" y="79286"/>
                    </a:cubicBezTo>
                    <a:cubicBezTo>
                      <a:pt x="47186" y="77360"/>
                      <a:pt x="50396" y="74471"/>
                      <a:pt x="53285" y="70780"/>
                    </a:cubicBezTo>
                    <a:lnTo>
                      <a:pt x="52964" y="73990"/>
                    </a:lnTo>
                    <a:lnTo>
                      <a:pt x="25680" y="45261"/>
                    </a:lnTo>
                    <a:lnTo>
                      <a:pt x="30174" y="45261"/>
                    </a:lnTo>
                    <a:lnTo>
                      <a:pt x="26322" y="47668"/>
                    </a:lnTo>
                    <a:cubicBezTo>
                      <a:pt x="22951" y="49915"/>
                      <a:pt x="20223" y="52001"/>
                      <a:pt x="17976" y="53927"/>
                    </a:cubicBezTo>
                    <a:cubicBezTo>
                      <a:pt x="15729" y="56014"/>
                      <a:pt x="14124" y="58100"/>
                      <a:pt x="13161" y="60187"/>
                    </a:cubicBezTo>
                    <a:cubicBezTo>
                      <a:pt x="12037" y="62434"/>
                      <a:pt x="11556" y="64841"/>
                      <a:pt x="11556" y="67730"/>
                    </a:cubicBezTo>
                    <a:cubicBezTo>
                      <a:pt x="11556" y="72224"/>
                      <a:pt x="13161" y="75755"/>
                      <a:pt x="16371" y="78163"/>
                    </a:cubicBezTo>
                    <a:cubicBezTo>
                      <a:pt x="19581" y="80731"/>
                      <a:pt x="24235" y="82015"/>
                      <a:pt x="30334" y="82015"/>
                    </a:cubicBezTo>
                    <a:close/>
                    <a:moveTo>
                      <a:pt x="33865" y="8506"/>
                    </a:moveTo>
                    <a:cubicBezTo>
                      <a:pt x="30174" y="8506"/>
                      <a:pt x="27124" y="9630"/>
                      <a:pt x="24877" y="11716"/>
                    </a:cubicBezTo>
                    <a:cubicBezTo>
                      <a:pt x="22630" y="13803"/>
                      <a:pt x="21507" y="16531"/>
                      <a:pt x="21507" y="20062"/>
                    </a:cubicBezTo>
                    <a:cubicBezTo>
                      <a:pt x="21507" y="23593"/>
                      <a:pt x="21828" y="23433"/>
                      <a:pt x="22470" y="25038"/>
                    </a:cubicBezTo>
                    <a:cubicBezTo>
                      <a:pt x="23112" y="26643"/>
                      <a:pt x="24075" y="28248"/>
                      <a:pt x="25680" y="30013"/>
                    </a:cubicBezTo>
                    <a:cubicBezTo>
                      <a:pt x="27124" y="31779"/>
                      <a:pt x="29050" y="34186"/>
                      <a:pt x="31618" y="36915"/>
                    </a:cubicBezTo>
                    <a:lnTo>
                      <a:pt x="28569" y="37236"/>
                    </a:lnTo>
                    <a:cubicBezTo>
                      <a:pt x="34347" y="33705"/>
                      <a:pt x="38519" y="30655"/>
                      <a:pt x="41088" y="28087"/>
                    </a:cubicBezTo>
                    <a:cubicBezTo>
                      <a:pt x="43656" y="25359"/>
                      <a:pt x="44939" y="22470"/>
                      <a:pt x="44939" y="19099"/>
                    </a:cubicBezTo>
                    <a:cubicBezTo>
                      <a:pt x="44939" y="15729"/>
                      <a:pt x="43976" y="13161"/>
                      <a:pt x="41890" y="11395"/>
                    </a:cubicBezTo>
                    <a:cubicBezTo>
                      <a:pt x="39964" y="9469"/>
                      <a:pt x="37236" y="8506"/>
                      <a:pt x="33865" y="8506"/>
                    </a:cubicBezTo>
                    <a:close/>
                  </a:path>
                </a:pathLst>
              </a:custGeom>
              <a:solidFill>
                <a:srgbClr val="000000"/>
              </a:solidFill>
              <a:ln w="1598"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F6C5ECCC-45AB-D2CB-4E6A-EE1FBC72C17A}"/>
                  </a:ext>
                </a:extLst>
              </p:cNvPr>
              <p:cNvSpPr/>
              <p:nvPr/>
            </p:nvSpPr>
            <p:spPr>
              <a:xfrm>
                <a:off x="11333601" y="526539"/>
                <a:ext cx="76236" cy="89076"/>
              </a:xfrm>
              <a:custGeom>
                <a:avLst/>
                <a:gdLst>
                  <a:gd name="connsiteX0" fmla="*/ 0 w 76236"/>
                  <a:gd name="connsiteY0" fmla="*/ 89077 h 89076"/>
                  <a:gd name="connsiteX1" fmla="*/ 0 w 76236"/>
                  <a:gd name="connsiteY1" fmla="*/ 0 h 89076"/>
                  <a:gd name="connsiteX2" fmla="*/ 30174 w 76236"/>
                  <a:gd name="connsiteY2" fmla="*/ 0 h 89076"/>
                  <a:gd name="connsiteX3" fmla="*/ 55372 w 76236"/>
                  <a:gd name="connsiteY3" fmla="*/ 5136 h 89076"/>
                  <a:gd name="connsiteX4" fmla="*/ 70940 w 76236"/>
                  <a:gd name="connsiteY4" fmla="*/ 20223 h 89076"/>
                  <a:gd name="connsiteX5" fmla="*/ 76237 w 76236"/>
                  <a:gd name="connsiteY5" fmla="*/ 44458 h 89076"/>
                  <a:gd name="connsiteX6" fmla="*/ 70940 w 76236"/>
                  <a:gd name="connsiteY6" fmla="*/ 68693 h 89076"/>
                  <a:gd name="connsiteX7" fmla="*/ 55372 w 76236"/>
                  <a:gd name="connsiteY7" fmla="*/ 83780 h 89076"/>
                  <a:gd name="connsiteX8" fmla="*/ 30174 w 76236"/>
                  <a:gd name="connsiteY8" fmla="*/ 88916 h 89076"/>
                  <a:gd name="connsiteX9" fmla="*/ 0 w 76236"/>
                  <a:gd name="connsiteY9" fmla="*/ 88916 h 89076"/>
                  <a:gd name="connsiteX10" fmla="*/ 11716 w 76236"/>
                  <a:gd name="connsiteY10" fmla="*/ 79126 h 89076"/>
                  <a:gd name="connsiteX11" fmla="*/ 29211 w 76236"/>
                  <a:gd name="connsiteY11" fmla="*/ 79126 h 89076"/>
                  <a:gd name="connsiteX12" fmla="*/ 55693 w 76236"/>
                  <a:gd name="connsiteY12" fmla="*/ 70459 h 89076"/>
                  <a:gd name="connsiteX13" fmla="*/ 64360 w 76236"/>
                  <a:gd name="connsiteY13" fmla="*/ 44458 h 89076"/>
                  <a:gd name="connsiteX14" fmla="*/ 55693 w 76236"/>
                  <a:gd name="connsiteY14" fmla="*/ 18457 h 89076"/>
                  <a:gd name="connsiteX15" fmla="*/ 29211 w 76236"/>
                  <a:gd name="connsiteY15" fmla="*/ 9951 h 89076"/>
                  <a:gd name="connsiteX16" fmla="*/ 11716 w 76236"/>
                  <a:gd name="connsiteY16" fmla="*/ 9951 h 89076"/>
                  <a:gd name="connsiteX17" fmla="*/ 11716 w 76236"/>
                  <a:gd name="connsiteY17" fmla="*/ 79126 h 8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36" h="89076">
                    <a:moveTo>
                      <a:pt x="0" y="89077"/>
                    </a:moveTo>
                    <a:lnTo>
                      <a:pt x="0" y="0"/>
                    </a:lnTo>
                    <a:lnTo>
                      <a:pt x="30174" y="0"/>
                    </a:lnTo>
                    <a:cubicBezTo>
                      <a:pt x="40125" y="0"/>
                      <a:pt x="48470" y="1765"/>
                      <a:pt x="55372" y="5136"/>
                    </a:cubicBezTo>
                    <a:cubicBezTo>
                      <a:pt x="62273" y="8667"/>
                      <a:pt x="67409" y="13642"/>
                      <a:pt x="70940" y="20223"/>
                    </a:cubicBezTo>
                    <a:cubicBezTo>
                      <a:pt x="74471" y="26803"/>
                      <a:pt x="76237" y="34828"/>
                      <a:pt x="76237" y="44458"/>
                    </a:cubicBezTo>
                    <a:cubicBezTo>
                      <a:pt x="76237" y="54088"/>
                      <a:pt x="74471" y="62113"/>
                      <a:pt x="70940" y="68693"/>
                    </a:cubicBezTo>
                    <a:cubicBezTo>
                      <a:pt x="67409" y="75274"/>
                      <a:pt x="62273" y="80410"/>
                      <a:pt x="55372" y="83780"/>
                    </a:cubicBezTo>
                    <a:cubicBezTo>
                      <a:pt x="48470" y="87311"/>
                      <a:pt x="40125" y="88916"/>
                      <a:pt x="30174" y="88916"/>
                    </a:cubicBezTo>
                    <a:lnTo>
                      <a:pt x="0" y="88916"/>
                    </a:lnTo>
                    <a:close/>
                    <a:moveTo>
                      <a:pt x="11716" y="79126"/>
                    </a:moveTo>
                    <a:lnTo>
                      <a:pt x="29211" y="79126"/>
                    </a:lnTo>
                    <a:cubicBezTo>
                      <a:pt x="41088" y="79126"/>
                      <a:pt x="49915" y="76237"/>
                      <a:pt x="55693" y="70459"/>
                    </a:cubicBezTo>
                    <a:cubicBezTo>
                      <a:pt x="61471" y="64681"/>
                      <a:pt x="64360" y="56014"/>
                      <a:pt x="64360" y="44458"/>
                    </a:cubicBezTo>
                    <a:cubicBezTo>
                      <a:pt x="64360" y="32902"/>
                      <a:pt x="61471" y="24235"/>
                      <a:pt x="55693" y="18457"/>
                    </a:cubicBezTo>
                    <a:cubicBezTo>
                      <a:pt x="49915" y="12840"/>
                      <a:pt x="41088" y="9951"/>
                      <a:pt x="29211" y="9951"/>
                    </a:cubicBezTo>
                    <a:lnTo>
                      <a:pt x="11716" y="9951"/>
                    </a:lnTo>
                    <a:lnTo>
                      <a:pt x="11716" y="79126"/>
                    </a:lnTo>
                    <a:close/>
                  </a:path>
                </a:pathLst>
              </a:custGeom>
              <a:solidFill>
                <a:srgbClr val="000000"/>
              </a:solidFill>
              <a:ln w="1598"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6B143DB-3498-F2C3-DB93-B73DF94A111F}"/>
                  </a:ext>
                </a:extLst>
              </p:cNvPr>
              <p:cNvSpPr/>
              <p:nvPr/>
            </p:nvSpPr>
            <p:spPr>
              <a:xfrm>
                <a:off x="11419468" y="550935"/>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1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6 w 57618"/>
                  <a:gd name="connsiteY21" fmla="*/ 55051 h 65964"/>
                  <a:gd name="connsiteX22" fmla="*/ 53125 w 57618"/>
                  <a:gd name="connsiteY22" fmla="*/ 49594 h 65964"/>
                  <a:gd name="connsiteX23" fmla="*/ 56977 w 57618"/>
                  <a:gd name="connsiteY23" fmla="*/ 57619 h 65964"/>
                  <a:gd name="connsiteX24" fmla="*/ 46224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50"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1"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4" y="17334"/>
                      <a:pt x="43335" y="13803"/>
                    </a:cubicBezTo>
                    <a:cubicBezTo>
                      <a:pt x="40446"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6" y="56174"/>
                      <a:pt x="43656" y="55051"/>
                    </a:cubicBezTo>
                    <a:cubicBezTo>
                      <a:pt x="46866" y="53927"/>
                      <a:pt x="50075" y="52162"/>
                      <a:pt x="53125" y="49594"/>
                    </a:cubicBezTo>
                    <a:lnTo>
                      <a:pt x="56977" y="57619"/>
                    </a:lnTo>
                    <a:cubicBezTo>
                      <a:pt x="54088" y="60187"/>
                      <a:pt x="50557" y="62273"/>
                      <a:pt x="46224"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5F531BF0-10C9-1E89-AF26-E79EFD2E67A9}"/>
                  </a:ext>
                </a:extLst>
              </p:cNvPr>
              <p:cNvSpPr/>
              <p:nvPr/>
            </p:nvSpPr>
            <p:spPr>
              <a:xfrm>
                <a:off x="11482062" y="522045"/>
                <a:ext cx="44297" cy="93570"/>
              </a:xfrm>
              <a:custGeom>
                <a:avLst/>
                <a:gdLst>
                  <a:gd name="connsiteX0" fmla="*/ 12358 w 44297"/>
                  <a:gd name="connsiteY0" fmla="*/ 93570 h 93570"/>
                  <a:gd name="connsiteX1" fmla="*/ 12358 w 44297"/>
                  <a:gd name="connsiteY1" fmla="*/ 38841 h 93570"/>
                  <a:gd name="connsiteX2" fmla="*/ 0 w 44297"/>
                  <a:gd name="connsiteY2" fmla="*/ 38841 h 93570"/>
                  <a:gd name="connsiteX3" fmla="*/ 0 w 44297"/>
                  <a:gd name="connsiteY3" fmla="*/ 30013 h 93570"/>
                  <a:gd name="connsiteX4" fmla="*/ 15568 w 44297"/>
                  <a:gd name="connsiteY4" fmla="*/ 30013 h 93570"/>
                  <a:gd name="connsiteX5" fmla="*/ 12358 w 44297"/>
                  <a:gd name="connsiteY5" fmla="*/ 32902 h 93570"/>
                  <a:gd name="connsiteX6" fmla="*/ 12358 w 44297"/>
                  <a:gd name="connsiteY6" fmla="*/ 22630 h 93570"/>
                  <a:gd name="connsiteX7" fmla="*/ 17976 w 44297"/>
                  <a:gd name="connsiteY7" fmla="*/ 5778 h 93570"/>
                  <a:gd name="connsiteX8" fmla="*/ 34186 w 44297"/>
                  <a:gd name="connsiteY8" fmla="*/ 0 h 93570"/>
                  <a:gd name="connsiteX9" fmla="*/ 39483 w 44297"/>
                  <a:gd name="connsiteY9" fmla="*/ 321 h 93570"/>
                  <a:gd name="connsiteX10" fmla="*/ 44298 w 44297"/>
                  <a:gd name="connsiteY10" fmla="*/ 1605 h 93570"/>
                  <a:gd name="connsiteX11" fmla="*/ 44298 w 44297"/>
                  <a:gd name="connsiteY11" fmla="*/ 10914 h 93570"/>
                  <a:gd name="connsiteX12" fmla="*/ 40446 w 44297"/>
                  <a:gd name="connsiteY12" fmla="*/ 9951 h 93570"/>
                  <a:gd name="connsiteX13" fmla="*/ 35952 w 44297"/>
                  <a:gd name="connsiteY13" fmla="*/ 9630 h 93570"/>
                  <a:gd name="connsiteX14" fmla="*/ 29371 w 44297"/>
                  <a:gd name="connsiteY14" fmla="*/ 11074 h 93570"/>
                  <a:gd name="connsiteX15" fmla="*/ 25198 w 44297"/>
                  <a:gd name="connsiteY15" fmla="*/ 15568 h 93570"/>
                  <a:gd name="connsiteX16" fmla="*/ 23754 w 44297"/>
                  <a:gd name="connsiteY16" fmla="*/ 23272 h 93570"/>
                  <a:gd name="connsiteX17" fmla="*/ 23754 w 44297"/>
                  <a:gd name="connsiteY17" fmla="*/ 32260 h 93570"/>
                  <a:gd name="connsiteX18" fmla="*/ 21988 w 44297"/>
                  <a:gd name="connsiteY18" fmla="*/ 29853 h 93570"/>
                  <a:gd name="connsiteX19" fmla="*/ 41248 w 44297"/>
                  <a:gd name="connsiteY19" fmla="*/ 29853 h 93570"/>
                  <a:gd name="connsiteX20" fmla="*/ 41248 w 44297"/>
                  <a:gd name="connsiteY20" fmla="*/ 38680 h 93570"/>
                  <a:gd name="connsiteX21" fmla="*/ 23754 w 44297"/>
                  <a:gd name="connsiteY21" fmla="*/ 38680 h 93570"/>
                  <a:gd name="connsiteX22" fmla="*/ 23754 w 44297"/>
                  <a:gd name="connsiteY22" fmla="*/ 93410 h 93570"/>
                  <a:gd name="connsiteX23" fmla="*/ 12198 w 44297"/>
                  <a:gd name="connsiteY23" fmla="*/ 93410 h 9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297" h="93570">
                    <a:moveTo>
                      <a:pt x="12358" y="93570"/>
                    </a:moveTo>
                    <a:lnTo>
                      <a:pt x="12358" y="38841"/>
                    </a:lnTo>
                    <a:lnTo>
                      <a:pt x="0" y="38841"/>
                    </a:lnTo>
                    <a:lnTo>
                      <a:pt x="0" y="30013"/>
                    </a:lnTo>
                    <a:lnTo>
                      <a:pt x="15568" y="30013"/>
                    </a:lnTo>
                    <a:lnTo>
                      <a:pt x="12358" y="32902"/>
                    </a:lnTo>
                    <a:lnTo>
                      <a:pt x="12358" y="22630"/>
                    </a:lnTo>
                    <a:cubicBezTo>
                      <a:pt x="12358" y="15247"/>
                      <a:pt x="14284" y="9630"/>
                      <a:pt x="17976" y="5778"/>
                    </a:cubicBezTo>
                    <a:cubicBezTo>
                      <a:pt x="21667" y="1926"/>
                      <a:pt x="27124" y="0"/>
                      <a:pt x="34186" y="0"/>
                    </a:cubicBezTo>
                    <a:cubicBezTo>
                      <a:pt x="41248" y="0"/>
                      <a:pt x="37717" y="0"/>
                      <a:pt x="39483" y="321"/>
                    </a:cubicBezTo>
                    <a:cubicBezTo>
                      <a:pt x="41409" y="642"/>
                      <a:pt x="43014" y="963"/>
                      <a:pt x="44298" y="1605"/>
                    </a:cubicBezTo>
                    <a:lnTo>
                      <a:pt x="44298" y="10914"/>
                    </a:lnTo>
                    <a:cubicBezTo>
                      <a:pt x="43335" y="10432"/>
                      <a:pt x="42051" y="10111"/>
                      <a:pt x="40446" y="9951"/>
                    </a:cubicBezTo>
                    <a:cubicBezTo>
                      <a:pt x="39001" y="9630"/>
                      <a:pt x="37396" y="9630"/>
                      <a:pt x="35952" y="9630"/>
                    </a:cubicBezTo>
                    <a:cubicBezTo>
                      <a:pt x="33384" y="9630"/>
                      <a:pt x="31297" y="10111"/>
                      <a:pt x="29371" y="11074"/>
                    </a:cubicBezTo>
                    <a:cubicBezTo>
                      <a:pt x="27445" y="12037"/>
                      <a:pt x="26161" y="13642"/>
                      <a:pt x="25198" y="15568"/>
                    </a:cubicBezTo>
                    <a:cubicBezTo>
                      <a:pt x="24235" y="17494"/>
                      <a:pt x="23754" y="20062"/>
                      <a:pt x="23754" y="23272"/>
                    </a:cubicBezTo>
                    <a:lnTo>
                      <a:pt x="23754" y="32260"/>
                    </a:lnTo>
                    <a:lnTo>
                      <a:pt x="21988" y="29853"/>
                    </a:lnTo>
                    <a:lnTo>
                      <a:pt x="41248" y="29853"/>
                    </a:lnTo>
                    <a:lnTo>
                      <a:pt x="41248" y="38680"/>
                    </a:lnTo>
                    <a:lnTo>
                      <a:pt x="23754" y="38680"/>
                    </a:lnTo>
                    <a:lnTo>
                      <a:pt x="23754" y="93410"/>
                    </a:lnTo>
                    <a:lnTo>
                      <a:pt x="12198" y="93410"/>
                    </a:lnTo>
                    <a:close/>
                  </a:path>
                </a:pathLst>
              </a:custGeom>
              <a:solidFill>
                <a:srgbClr val="000000"/>
              </a:solidFill>
              <a:ln w="1598"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D10B7051-18FC-DEE3-0178-DCC883330CB7}"/>
                  </a:ext>
                </a:extLst>
              </p:cNvPr>
              <p:cNvSpPr/>
              <p:nvPr/>
            </p:nvSpPr>
            <p:spPr>
              <a:xfrm>
                <a:off x="11527483" y="550935"/>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0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5 w 57618"/>
                  <a:gd name="connsiteY21" fmla="*/ 55051 h 65964"/>
                  <a:gd name="connsiteX22" fmla="*/ 53125 w 57618"/>
                  <a:gd name="connsiteY22" fmla="*/ 49594 h 65964"/>
                  <a:gd name="connsiteX23" fmla="*/ 56977 w 57618"/>
                  <a:gd name="connsiteY23" fmla="*/ 57619 h 65964"/>
                  <a:gd name="connsiteX24" fmla="*/ 46223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49"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0"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3" y="17334"/>
                      <a:pt x="43335" y="13803"/>
                    </a:cubicBezTo>
                    <a:cubicBezTo>
                      <a:pt x="40445"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5" y="56174"/>
                      <a:pt x="43655" y="55051"/>
                    </a:cubicBezTo>
                    <a:cubicBezTo>
                      <a:pt x="46865" y="53927"/>
                      <a:pt x="50075" y="52162"/>
                      <a:pt x="53125" y="49594"/>
                    </a:cubicBezTo>
                    <a:lnTo>
                      <a:pt x="56977" y="57619"/>
                    </a:lnTo>
                    <a:cubicBezTo>
                      <a:pt x="54088" y="60187"/>
                      <a:pt x="50557" y="62273"/>
                      <a:pt x="46223"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4A56E993-6431-389A-90E4-167E52E0F6FC}"/>
                  </a:ext>
                </a:extLst>
              </p:cNvPr>
              <p:cNvSpPr/>
              <p:nvPr/>
            </p:nvSpPr>
            <p:spPr>
              <a:xfrm>
                <a:off x="11597781" y="551095"/>
                <a:ext cx="56495" cy="64520"/>
              </a:xfrm>
              <a:custGeom>
                <a:avLst/>
                <a:gdLst>
                  <a:gd name="connsiteX0" fmla="*/ 1124 w 56495"/>
                  <a:gd name="connsiteY0" fmla="*/ 64520 h 64520"/>
                  <a:gd name="connsiteX1" fmla="*/ 1124 w 56495"/>
                  <a:gd name="connsiteY1" fmla="*/ 16050 h 64520"/>
                  <a:gd name="connsiteX2" fmla="*/ 802 w 56495"/>
                  <a:gd name="connsiteY2" fmla="*/ 8667 h 64520"/>
                  <a:gd name="connsiteX3" fmla="*/ 0 w 56495"/>
                  <a:gd name="connsiteY3" fmla="*/ 1124 h 64520"/>
                  <a:gd name="connsiteX4" fmla="*/ 11074 w 56495"/>
                  <a:gd name="connsiteY4" fmla="*/ 1124 h 64520"/>
                  <a:gd name="connsiteX5" fmla="*/ 12358 w 56495"/>
                  <a:gd name="connsiteY5" fmla="*/ 14766 h 64520"/>
                  <a:gd name="connsiteX6" fmla="*/ 10914 w 56495"/>
                  <a:gd name="connsiteY6" fmla="*/ 14766 h 64520"/>
                  <a:gd name="connsiteX7" fmla="*/ 19902 w 56495"/>
                  <a:gd name="connsiteY7" fmla="*/ 3852 h 64520"/>
                  <a:gd name="connsiteX8" fmla="*/ 34026 w 56495"/>
                  <a:gd name="connsiteY8" fmla="*/ 0 h 64520"/>
                  <a:gd name="connsiteX9" fmla="*/ 50878 w 56495"/>
                  <a:gd name="connsiteY9" fmla="*/ 6099 h 64520"/>
                  <a:gd name="connsiteX10" fmla="*/ 56495 w 56495"/>
                  <a:gd name="connsiteY10" fmla="*/ 25038 h 64520"/>
                  <a:gd name="connsiteX11" fmla="*/ 56495 w 56495"/>
                  <a:gd name="connsiteY11" fmla="*/ 64520 h 64520"/>
                  <a:gd name="connsiteX12" fmla="*/ 44940 w 56495"/>
                  <a:gd name="connsiteY12" fmla="*/ 64520 h 64520"/>
                  <a:gd name="connsiteX13" fmla="*/ 44940 w 56495"/>
                  <a:gd name="connsiteY13" fmla="*/ 25680 h 64520"/>
                  <a:gd name="connsiteX14" fmla="*/ 41569 w 56495"/>
                  <a:gd name="connsiteY14" fmla="*/ 13161 h 64520"/>
                  <a:gd name="connsiteX15" fmla="*/ 30976 w 56495"/>
                  <a:gd name="connsiteY15" fmla="*/ 9309 h 64520"/>
                  <a:gd name="connsiteX16" fmla="*/ 17334 w 56495"/>
                  <a:gd name="connsiteY16" fmla="*/ 14445 h 64520"/>
                  <a:gd name="connsiteX17" fmla="*/ 12358 w 56495"/>
                  <a:gd name="connsiteY17" fmla="*/ 28408 h 64520"/>
                  <a:gd name="connsiteX18" fmla="*/ 12358 w 56495"/>
                  <a:gd name="connsiteY18" fmla="*/ 64520 h 64520"/>
                  <a:gd name="connsiteX19" fmla="*/ 802 w 56495"/>
                  <a:gd name="connsiteY19" fmla="*/ 64520 h 6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495" h="64520">
                    <a:moveTo>
                      <a:pt x="1124" y="64520"/>
                    </a:moveTo>
                    <a:lnTo>
                      <a:pt x="1124" y="16050"/>
                    </a:lnTo>
                    <a:cubicBezTo>
                      <a:pt x="1124" y="13642"/>
                      <a:pt x="1124" y="11074"/>
                      <a:pt x="802" y="8667"/>
                    </a:cubicBezTo>
                    <a:cubicBezTo>
                      <a:pt x="642" y="6099"/>
                      <a:pt x="321" y="3691"/>
                      <a:pt x="0" y="1124"/>
                    </a:cubicBezTo>
                    <a:lnTo>
                      <a:pt x="11074" y="1124"/>
                    </a:lnTo>
                    <a:lnTo>
                      <a:pt x="12358" y="14766"/>
                    </a:lnTo>
                    <a:lnTo>
                      <a:pt x="10914" y="14766"/>
                    </a:lnTo>
                    <a:cubicBezTo>
                      <a:pt x="12840" y="9951"/>
                      <a:pt x="15889" y="6259"/>
                      <a:pt x="19902" y="3852"/>
                    </a:cubicBezTo>
                    <a:cubicBezTo>
                      <a:pt x="23914" y="1284"/>
                      <a:pt x="28729" y="0"/>
                      <a:pt x="34026" y="0"/>
                    </a:cubicBezTo>
                    <a:cubicBezTo>
                      <a:pt x="39322" y="0"/>
                      <a:pt x="47186" y="2086"/>
                      <a:pt x="50878" y="6099"/>
                    </a:cubicBezTo>
                    <a:cubicBezTo>
                      <a:pt x="54730" y="10111"/>
                      <a:pt x="56495" y="16531"/>
                      <a:pt x="56495" y="25038"/>
                    </a:cubicBezTo>
                    <a:lnTo>
                      <a:pt x="56495" y="64520"/>
                    </a:lnTo>
                    <a:lnTo>
                      <a:pt x="44940" y="64520"/>
                    </a:lnTo>
                    <a:lnTo>
                      <a:pt x="44940" y="25680"/>
                    </a:lnTo>
                    <a:cubicBezTo>
                      <a:pt x="44940" y="19902"/>
                      <a:pt x="43816" y="15729"/>
                      <a:pt x="41569" y="13161"/>
                    </a:cubicBezTo>
                    <a:cubicBezTo>
                      <a:pt x="39322" y="10593"/>
                      <a:pt x="35791" y="9309"/>
                      <a:pt x="30976" y="9309"/>
                    </a:cubicBezTo>
                    <a:cubicBezTo>
                      <a:pt x="26161" y="9309"/>
                      <a:pt x="20704" y="11074"/>
                      <a:pt x="17334" y="14445"/>
                    </a:cubicBezTo>
                    <a:cubicBezTo>
                      <a:pt x="13963" y="17976"/>
                      <a:pt x="12358" y="22630"/>
                      <a:pt x="12358" y="28408"/>
                    </a:cubicBezTo>
                    <a:lnTo>
                      <a:pt x="12358" y="64520"/>
                    </a:lnTo>
                    <a:lnTo>
                      <a:pt x="802" y="64520"/>
                    </a:lnTo>
                    <a:close/>
                  </a:path>
                </a:pathLst>
              </a:custGeom>
              <a:solidFill>
                <a:srgbClr val="000000"/>
              </a:solidFill>
              <a:ln w="1598"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40E3753C-F61D-1B55-24B6-EEC3C512AA1D}"/>
                  </a:ext>
                </a:extLst>
              </p:cNvPr>
              <p:cNvSpPr/>
              <p:nvPr/>
            </p:nvSpPr>
            <p:spPr>
              <a:xfrm>
                <a:off x="11668401" y="550774"/>
                <a:ext cx="50717" cy="66125"/>
              </a:xfrm>
              <a:custGeom>
                <a:avLst/>
                <a:gdLst>
                  <a:gd name="connsiteX0" fmla="*/ 25198 w 50717"/>
                  <a:gd name="connsiteY0" fmla="*/ 66125 h 66125"/>
                  <a:gd name="connsiteX1" fmla="*/ 10914 w 50717"/>
                  <a:gd name="connsiteY1" fmla="*/ 64039 h 66125"/>
                  <a:gd name="connsiteX2" fmla="*/ 0 w 50717"/>
                  <a:gd name="connsiteY2" fmla="*/ 58261 h 66125"/>
                  <a:gd name="connsiteX3" fmla="*/ 3691 w 50717"/>
                  <a:gd name="connsiteY3" fmla="*/ 50236 h 66125"/>
                  <a:gd name="connsiteX4" fmla="*/ 13963 w 50717"/>
                  <a:gd name="connsiteY4" fmla="*/ 55532 h 66125"/>
                  <a:gd name="connsiteX5" fmla="*/ 25519 w 50717"/>
                  <a:gd name="connsiteY5" fmla="*/ 57298 h 66125"/>
                  <a:gd name="connsiteX6" fmla="*/ 36433 w 50717"/>
                  <a:gd name="connsiteY6" fmla="*/ 54569 h 66125"/>
                  <a:gd name="connsiteX7" fmla="*/ 40125 w 50717"/>
                  <a:gd name="connsiteY7" fmla="*/ 47507 h 66125"/>
                  <a:gd name="connsiteX8" fmla="*/ 37717 w 50717"/>
                  <a:gd name="connsiteY8" fmla="*/ 41890 h 66125"/>
                  <a:gd name="connsiteX9" fmla="*/ 30174 w 50717"/>
                  <a:gd name="connsiteY9" fmla="*/ 38680 h 66125"/>
                  <a:gd name="connsiteX10" fmla="*/ 18136 w 50717"/>
                  <a:gd name="connsiteY10" fmla="*/ 36273 h 66125"/>
                  <a:gd name="connsiteX11" fmla="*/ 5938 w 50717"/>
                  <a:gd name="connsiteY11" fmla="*/ 30174 h 66125"/>
                  <a:gd name="connsiteX12" fmla="*/ 1765 w 50717"/>
                  <a:gd name="connsiteY12" fmla="*/ 19260 h 66125"/>
                  <a:gd name="connsiteX13" fmla="*/ 4815 w 50717"/>
                  <a:gd name="connsiteY13" fmla="*/ 9309 h 66125"/>
                  <a:gd name="connsiteX14" fmla="*/ 13482 w 50717"/>
                  <a:gd name="connsiteY14" fmla="*/ 2407 h 66125"/>
                  <a:gd name="connsiteX15" fmla="*/ 26643 w 50717"/>
                  <a:gd name="connsiteY15" fmla="*/ 0 h 66125"/>
                  <a:gd name="connsiteX16" fmla="*/ 39643 w 50717"/>
                  <a:gd name="connsiteY16" fmla="*/ 2086 h 66125"/>
                  <a:gd name="connsiteX17" fmla="*/ 49594 w 50717"/>
                  <a:gd name="connsiteY17" fmla="*/ 8025 h 66125"/>
                  <a:gd name="connsiteX18" fmla="*/ 45742 w 50717"/>
                  <a:gd name="connsiteY18" fmla="*/ 15729 h 66125"/>
                  <a:gd name="connsiteX19" fmla="*/ 36915 w 50717"/>
                  <a:gd name="connsiteY19" fmla="*/ 10432 h 66125"/>
                  <a:gd name="connsiteX20" fmla="*/ 26964 w 50717"/>
                  <a:gd name="connsiteY20" fmla="*/ 8667 h 66125"/>
                  <a:gd name="connsiteX21" fmla="*/ 16050 w 50717"/>
                  <a:gd name="connsiteY21" fmla="*/ 11556 h 66125"/>
                  <a:gd name="connsiteX22" fmla="*/ 12519 w 50717"/>
                  <a:gd name="connsiteY22" fmla="*/ 18939 h 66125"/>
                  <a:gd name="connsiteX23" fmla="*/ 14605 w 50717"/>
                  <a:gd name="connsiteY23" fmla="*/ 24556 h 66125"/>
                  <a:gd name="connsiteX24" fmla="*/ 21507 w 50717"/>
                  <a:gd name="connsiteY24" fmla="*/ 27927 h 66125"/>
                  <a:gd name="connsiteX25" fmla="*/ 33544 w 50717"/>
                  <a:gd name="connsiteY25" fmla="*/ 30334 h 66125"/>
                  <a:gd name="connsiteX26" fmla="*/ 46384 w 50717"/>
                  <a:gd name="connsiteY26" fmla="*/ 36112 h 66125"/>
                  <a:gd name="connsiteX27" fmla="*/ 50717 w 50717"/>
                  <a:gd name="connsiteY27" fmla="*/ 46865 h 66125"/>
                  <a:gd name="connsiteX28" fmla="*/ 47507 w 50717"/>
                  <a:gd name="connsiteY28" fmla="*/ 57137 h 66125"/>
                  <a:gd name="connsiteX29" fmla="*/ 38520 w 50717"/>
                  <a:gd name="connsiteY29" fmla="*/ 63718 h 66125"/>
                  <a:gd name="connsiteX30" fmla="*/ 25038 w 50717"/>
                  <a:gd name="connsiteY30" fmla="*/ 65965 h 6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717" h="66125">
                    <a:moveTo>
                      <a:pt x="25198" y="66125"/>
                    </a:moveTo>
                    <a:cubicBezTo>
                      <a:pt x="20062" y="66125"/>
                      <a:pt x="15247" y="65483"/>
                      <a:pt x="10914" y="64039"/>
                    </a:cubicBezTo>
                    <a:cubicBezTo>
                      <a:pt x="6420" y="62755"/>
                      <a:pt x="2889" y="60829"/>
                      <a:pt x="0" y="58261"/>
                    </a:cubicBezTo>
                    <a:lnTo>
                      <a:pt x="3691" y="50236"/>
                    </a:lnTo>
                    <a:cubicBezTo>
                      <a:pt x="6741" y="52643"/>
                      <a:pt x="10272" y="54409"/>
                      <a:pt x="13963" y="55532"/>
                    </a:cubicBezTo>
                    <a:cubicBezTo>
                      <a:pt x="17655" y="56816"/>
                      <a:pt x="21507" y="57298"/>
                      <a:pt x="25519" y="57298"/>
                    </a:cubicBezTo>
                    <a:cubicBezTo>
                      <a:pt x="29532" y="57298"/>
                      <a:pt x="34026" y="56335"/>
                      <a:pt x="36433" y="54569"/>
                    </a:cubicBezTo>
                    <a:cubicBezTo>
                      <a:pt x="38841" y="52804"/>
                      <a:pt x="40125" y="50396"/>
                      <a:pt x="40125" y="47507"/>
                    </a:cubicBezTo>
                    <a:cubicBezTo>
                      <a:pt x="40125" y="44619"/>
                      <a:pt x="39322" y="43174"/>
                      <a:pt x="37717" y="41890"/>
                    </a:cubicBezTo>
                    <a:cubicBezTo>
                      <a:pt x="36112" y="40446"/>
                      <a:pt x="33544" y="39483"/>
                      <a:pt x="30174" y="38680"/>
                    </a:cubicBezTo>
                    <a:lnTo>
                      <a:pt x="18136" y="36273"/>
                    </a:lnTo>
                    <a:cubicBezTo>
                      <a:pt x="12679" y="34989"/>
                      <a:pt x="8667" y="32902"/>
                      <a:pt x="5938" y="30174"/>
                    </a:cubicBezTo>
                    <a:cubicBezTo>
                      <a:pt x="3210" y="27285"/>
                      <a:pt x="1765" y="23754"/>
                      <a:pt x="1765" y="19260"/>
                    </a:cubicBezTo>
                    <a:cubicBezTo>
                      <a:pt x="1765" y="14766"/>
                      <a:pt x="2728" y="12198"/>
                      <a:pt x="4815" y="9309"/>
                    </a:cubicBezTo>
                    <a:cubicBezTo>
                      <a:pt x="6901" y="6420"/>
                      <a:pt x="9790" y="4173"/>
                      <a:pt x="13482" y="2407"/>
                    </a:cubicBezTo>
                    <a:cubicBezTo>
                      <a:pt x="17173" y="802"/>
                      <a:pt x="21667" y="0"/>
                      <a:pt x="26643" y="0"/>
                    </a:cubicBezTo>
                    <a:cubicBezTo>
                      <a:pt x="31618" y="0"/>
                      <a:pt x="35631" y="642"/>
                      <a:pt x="39643" y="2086"/>
                    </a:cubicBezTo>
                    <a:cubicBezTo>
                      <a:pt x="43656" y="3370"/>
                      <a:pt x="47026" y="5457"/>
                      <a:pt x="49594" y="8025"/>
                    </a:cubicBezTo>
                    <a:lnTo>
                      <a:pt x="45742" y="15729"/>
                    </a:lnTo>
                    <a:cubicBezTo>
                      <a:pt x="43174" y="13482"/>
                      <a:pt x="40125" y="11716"/>
                      <a:pt x="36915" y="10432"/>
                    </a:cubicBezTo>
                    <a:cubicBezTo>
                      <a:pt x="33705" y="9148"/>
                      <a:pt x="30334" y="8667"/>
                      <a:pt x="26964" y="8667"/>
                    </a:cubicBezTo>
                    <a:cubicBezTo>
                      <a:pt x="22149" y="8667"/>
                      <a:pt x="18457" y="9630"/>
                      <a:pt x="16050" y="11556"/>
                    </a:cubicBezTo>
                    <a:cubicBezTo>
                      <a:pt x="13642" y="13482"/>
                      <a:pt x="12519" y="15889"/>
                      <a:pt x="12519" y="18939"/>
                    </a:cubicBezTo>
                    <a:cubicBezTo>
                      <a:pt x="12519" y="21988"/>
                      <a:pt x="13161" y="23112"/>
                      <a:pt x="14605" y="24556"/>
                    </a:cubicBezTo>
                    <a:cubicBezTo>
                      <a:pt x="16050" y="26001"/>
                      <a:pt x="18297" y="27124"/>
                      <a:pt x="21507" y="27927"/>
                    </a:cubicBezTo>
                    <a:lnTo>
                      <a:pt x="33544" y="30334"/>
                    </a:lnTo>
                    <a:cubicBezTo>
                      <a:pt x="39162" y="31458"/>
                      <a:pt x="43495" y="33384"/>
                      <a:pt x="46384" y="36112"/>
                    </a:cubicBezTo>
                    <a:cubicBezTo>
                      <a:pt x="49273" y="38841"/>
                      <a:pt x="50717" y="42372"/>
                      <a:pt x="50717" y="46865"/>
                    </a:cubicBezTo>
                    <a:cubicBezTo>
                      <a:pt x="50717" y="51359"/>
                      <a:pt x="49594" y="54248"/>
                      <a:pt x="47507" y="57137"/>
                    </a:cubicBezTo>
                    <a:cubicBezTo>
                      <a:pt x="45421" y="60026"/>
                      <a:pt x="42371" y="62113"/>
                      <a:pt x="38520" y="63718"/>
                    </a:cubicBezTo>
                    <a:cubicBezTo>
                      <a:pt x="34668" y="65162"/>
                      <a:pt x="30174" y="65965"/>
                      <a:pt x="25038" y="65965"/>
                    </a:cubicBezTo>
                    <a:close/>
                  </a:path>
                </a:pathLst>
              </a:custGeom>
              <a:solidFill>
                <a:srgbClr val="000000"/>
              </a:solidFill>
              <a:ln w="1598"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450F2E9D-5862-206A-1311-353A4F4FFC60}"/>
                  </a:ext>
                </a:extLst>
              </p:cNvPr>
              <p:cNvSpPr/>
              <p:nvPr/>
            </p:nvSpPr>
            <p:spPr>
              <a:xfrm>
                <a:off x="11729871" y="550935"/>
                <a:ext cx="57618" cy="65964"/>
              </a:xfrm>
              <a:custGeom>
                <a:avLst/>
                <a:gdLst>
                  <a:gd name="connsiteX0" fmla="*/ 32742 w 57618"/>
                  <a:gd name="connsiteY0" fmla="*/ 65965 h 65964"/>
                  <a:gd name="connsiteX1" fmla="*/ 8827 w 57618"/>
                  <a:gd name="connsiteY1" fmla="*/ 57298 h 65964"/>
                  <a:gd name="connsiteX2" fmla="*/ 0 w 57618"/>
                  <a:gd name="connsiteY2" fmla="*/ 33223 h 65964"/>
                  <a:gd name="connsiteX3" fmla="*/ 3852 w 57618"/>
                  <a:gd name="connsiteY3" fmla="*/ 15729 h 65964"/>
                  <a:gd name="connsiteX4" fmla="*/ 14605 w 57618"/>
                  <a:gd name="connsiteY4" fmla="*/ 4173 h 65964"/>
                  <a:gd name="connsiteX5" fmla="*/ 30495 w 57618"/>
                  <a:gd name="connsiteY5" fmla="*/ 0 h 65964"/>
                  <a:gd name="connsiteX6" fmla="*/ 45260 w 57618"/>
                  <a:gd name="connsiteY6" fmla="*/ 3691 h 65964"/>
                  <a:gd name="connsiteX7" fmla="*/ 54409 w 57618"/>
                  <a:gd name="connsiteY7" fmla="*/ 14284 h 65964"/>
                  <a:gd name="connsiteX8" fmla="*/ 57619 w 57618"/>
                  <a:gd name="connsiteY8" fmla="*/ 30495 h 65964"/>
                  <a:gd name="connsiteX9" fmla="*/ 57619 w 57618"/>
                  <a:gd name="connsiteY9" fmla="*/ 34347 h 65964"/>
                  <a:gd name="connsiteX10" fmla="*/ 8988 w 57618"/>
                  <a:gd name="connsiteY10" fmla="*/ 34347 h 65964"/>
                  <a:gd name="connsiteX11" fmla="*/ 8988 w 57618"/>
                  <a:gd name="connsiteY11" fmla="*/ 27445 h 65964"/>
                  <a:gd name="connsiteX12" fmla="*/ 49754 w 57618"/>
                  <a:gd name="connsiteY12" fmla="*/ 27445 h 65964"/>
                  <a:gd name="connsiteX13" fmla="*/ 47668 w 57618"/>
                  <a:gd name="connsiteY13" fmla="*/ 29050 h 65964"/>
                  <a:gd name="connsiteX14" fmla="*/ 43335 w 57618"/>
                  <a:gd name="connsiteY14" fmla="*/ 13803 h 65964"/>
                  <a:gd name="connsiteX15" fmla="*/ 30495 w 57618"/>
                  <a:gd name="connsiteY15" fmla="*/ 8346 h 65964"/>
                  <a:gd name="connsiteX16" fmla="*/ 16210 w 57618"/>
                  <a:gd name="connsiteY16" fmla="*/ 14766 h 65964"/>
                  <a:gd name="connsiteX17" fmla="*/ 11235 w 57618"/>
                  <a:gd name="connsiteY17" fmla="*/ 32100 h 65964"/>
                  <a:gd name="connsiteX18" fmla="*/ 11235 w 57618"/>
                  <a:gd name="connsiteY18" fmla="*/ 33223 h 65964"/>
                  <a:gd name="connsiteX19" fmla="*/ 17013 w 57618"/>
                  <a:gd name="connsiteY19" fmla="*/ 50717 h 65964"/>
                  <a:gd name="connsiteX20" fmla="*/ 33063 w 57618"/>
                  <a:gd name="connsiteY20" fmla="*/ 56656 h 65964"/>
                  <a:gd name="connsiteX21" fmla="*/ 43655 w 57618"/>
                  <a:gd name="connsiteY21" fmla="*/ 55051 h 65964"/>
                  <a:gd name="connsiteX22" fmla="*/ 53125 w 57618"/>
                  <a:gd name="connsiteY22" fmla="*/ 49594 h 65964"/>
                  <a:gd name="connsiteX23" fmla="*/ 56977 w 57618"/>
                  <a:gd name="connsiteY23" fmla="*/ 57619 h 65964"/>
                  <a:gd name="connsiteX24" fmla="*/ 46224 w 57618"/>
                  <a:gd name="connsiteY24" fmla="*/ 63718 h 65964"/>
                  <a:gd name="connsiteX25" fmla="*/ 32902 w 57618"/>
                  <a:gd name="connsiteY25" fmla="*/ 65804 h 6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18" h="65964">
                    <a:moveTo>
                      <a:pt x="32742" y="65965"/>
                    </a:moveTo>
                    <a:cubicBezTo>
                      <a:pt x="22630" y="65965"/>
                      <a:pt x="14605" y="63076"/>
                      <a:pt x="8827" y="57298"/>
                    </a:cubicBezTo>
                    <a:cubicBezTo>
                      <a:pt x="3050" y="51520"/>
                      <a:pt x="0" y="43495"/>
                      <a:pt x="0" y="33223"/>
                    </a:cubicBezTo>
                    <a:cubicBezTo>
                      <a:pt x="0" y="22951"/>
                      <a:pt x="1284" y="20704"/>
                      <a:pt x="3852" y="15729"/>
                    </a:cubicBezTo>
                    <a:cubicBezTo>
                      <a:pt x="6420" y="10753"/>
                      <a:pt x="9951" y="6901"/>
                      <a:pt x="14605" y="4173"/>
                    </a:cubicBezTo>
                    <a:cubicBezTo>
                      <a:pt x="19099" y="1444"/>
                      <a:pt x="24396" y="0"/>
                      <a:pt x="30495" y="0"/>
                    </a:cubicBezTo>
                    <a:cubicBezTo>
                      <a:pt x="36594" y="0"/>
                      <a:pt x="41248" y="1284"/>
                      <a:pt x="45260" y="3691"/>
                    </a:cubicBezTo>
                    <a:cubicBezTo>
                      <a:pt x="49273" y="6099"/>
                      <a:pt x="52322" y="9630"/>
                      <a:pt x="54409" y="14284"/>
                    </a:cubicBezTo>
                    <a:cubicBezTo>
                      <a:pt x="56495" y="18778"/>
                      <a:pt x="57619" y="24235"/>
                      <a:pt x="57619" y="30495"/>
                    </a:cubicBezTo>
                    <a:lnTo>
                      <a:pt x="57619" y="34347"/>
                    </a:lnTo>
                    <a:lnTo>
                      <a:pt x="8988" y="34347"/>
                    </a:lnTo>
                    <a:lnTo>
                      <a:pt x="8988" y="27445"/>
                    </a:lnTo>
                    <a:lnTo>
                      <a:pt x="49754" y="27445"/>
                    </a:lnTo>
                    <a:lnTo>
                      <a:pt x="47668" y="29050"/>
                    </a:lnTo>
                    <a:cubicBezTo>
                      <a:pt x="47668" y="22470"/>
                      <a:pt x="46224" y="17334"/>
                      <a:pt x="43335" y="13803"/>
                    </a:cubicBezTo>
                    <a:cubicBezTo>
                      <a:pt x="40445" y="10111"/>
                      <a:pt x="36112" y="8346"/>
                      <a:pt x="30495" y="8346"/>
                    </a:cubicBezTo>
                    <a:cubicBezTo>
                      <a:pt x="24877" y="8346"/>
                      <a:pt x="19581" y="10432"/>
                      <a:pt x="16210" y="14766"/>
                    </a:cubicBezTo>
                    <a:cubicBezTo>
                      <a:pt x="12840" y="19099"/>
                      <a:pt x="11235" y="24877"/>
                      <a:pt x="11235" y="32100"/>
                    </a:cubicBezTo>
                    <a:lnTo>
                      <a:pt x="11235" y="33223"/>
                    </a:lnTo>
                    <a:cubicBezTo>
                      <a:pt x="11235" y="40927"/>
                      <a:pt x="13161" y="46865"/>
                      <a:pt x="17013" y="50717"/>
                    </a:cubicBezTo>
                    <a:cubicBezTo>
                      <a:pt x="20865" y="54730"/>
                      <a:pt x="26161" y="56656"/>
                      <a:pt x="33063" y="56656"/>
                    </a:cubicBezTo>
                    <a:cubicBezTo>
                      <a:pt x="39964" y="56656"/>
                      <a:pt x="40445" y="56174"/>
                      <a:pt x="43655" y="55051"/>
                    </a:cubicBezTo>
                    <a:cubicBezTo>
                      <a:pt x="46865" y="53927"/>
                      <a:pt x="50075" y="52162"/>
                      <a:pt x="53125" y="49594"/>
                    </a:cubicBezTo>
                    <a:lnTo>
                      <a:pt x="56977" y="57619"/>
                    </a:lnTo>
                    <a:cubicBezTo>
                      <a:pt x="54088" y="60187"/>
                      <a:pt x="50557" y="62273"/>
                      <a:pt x="46224" y="63718"/>
                    </a:cubicBezTo>
                    <a:cubicBezTo>
                      <a:pt x="41890" y="65162"/>
                      <a:pt x="37557" y="65804"/>
                      <a:pt x="32902" y="65804"/>
                    </a:cubicBezTo>
                    <a:close/>
                  </a:path>
                </a:pathLst>
              </a:custGeom>
              <a:solidFill>
                <a:srgbClr val="000000"/>
              </a:solidFill>
              <a:ln w="159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4855167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ts val="32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buFont typeface="Arial" panose="020B0604020202020204" pitchFamily="34" charset="0"/>
        <a:buNone/>
        <a:defRPr lang="en-GB" sz="2400" b="1" kern="1200" smtClean="0">
          <a:solidFill>
            <a:schemeClr val="accent3"/>
          </a:solidFill>
          <a:effectLst/>
          <a:latin typeface="+mn-lt"/>
          <a:ea typeface="+mn-ea"/>
          <a:cs typeface="+mn-cs"/>
        </a:defRPr>
      </a:lvl1pPr>
      <a:lvl2pPr marL="0" indent="0" algn="l" defTabSz="914400" rtl="0" eaLnBrk="1" latinLnBrk="0" hangingPunct="1">
        <a:lnSpc>
          <a:spcPct val="105000"/>
        </a:lnSpc>
        <a:spcBef>
          <a:spcPts val="500"/>
        </a:spcBef>
        <a:buFont typeface="Arial" panose="020B0604020202020204" pitchFamily="34" charset="0"/>
        <a:buNone/>
        <a:tabLst/>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1200"/>
        </a:spcBef>
        <a:buClr>
          <a:schemeClr val="accent3"/>
        </a:buClr>
        <a:buFont typeface="Arial" panose="020B0604020202020204" pitchFamily="34" charset="0"/>
        <a:buChar char="•"/>
        <a:tabLst/>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1000"/>
        </a:spcBef>
        <a:buClr>
          <a:schemeClr val="accent3"/>
        </a:buClr>
        <a:buFont typeface="System Font Regular"/>
        <a:buChar char="–"/>
        <a:tabLst/>
        <a:defRPr sz="1400" kern="1200">
          <a:solidFill>
            <a:schemeClr val="tx1"/>
          </a:solidFill>
          <a:latin typeface="+mn-lt"/>
          <a:ea typeface="+mn-ea"/>
          <a:cs typeface="+mn-cs"/>
        </a:defRPr>
      </a:lvl4pPr>
      <a:lvl5pPr marL="504000" indent="-144000" algn="l" defTabSz="914400" rtl="0" eaLnBrk="1" latinLnBrk="0" hangingPunct="1">
        <a:lnSpc>
          <a:spcPct val="100000"/>
        </a:lnSpc>
        <a:spcBef>
          <a:spcPts val="1000"/>
        </a:spcBef>
        <a:buClr>
          <a:schemeClr val="accent3"/>
        </a:buClr>
        <a:buFont typeface="System Font Regular"/>
        <a:buChar char="&gt;"/>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0" pos="3942">
          <p15:clr>
            <a:srgbClr val="5ACBF0"/>
          </p15:clr>
        </p15:guide>
        <p15:guide id="21" pos="339">
          <p15:clr>
            <a:srgbClr val="C35EA4"/>
          </p15:clr>
        </p15:guide>
        <p15:guide id="22" pos="1338">
          <p15:clr>
            <a:srgbClr val="5ACBF0"/>
          </p15:clr>
        </p15:guide>
        <p15:guide id="23" pos="1539">
          <p15:clr>
            <a:srgbClr val="5ACBF0"/>
          </p15:clr>
        </p15:guide>
        <p15:guide id="24" pos="2538">
          <p15:clr>
            <a:srgbClr val="5ACBF0"/>
          </p15:clr>
        </p15:guide>
        <p15:guide id="25" pos="2739">
          <p15:clr>
            <a:srgbClr val="5ACBF0"/>
          </p15:clr>
        </p15:guide>
        <p15:guide id="26" pos="3738">
          <p15:clr>
            <a:srgbClr val="5ACBF0"/>
          </p15:clr>
        </p15:guide>
        <p15:guide id="27" pos="3840">
          <p15:clr>
            <a:srgbClr val="C35EA4"/>
          </p15:clr>
        </p15:guide>
        <p15:guide id="28" pos="4938">
          <p15:clr>
            <a:srgbClr val="5ACBF0"/>
          </p15:clr>
        </p15:guide>
        <p15:guide id="29" pos="5142">
          <p15:clr>
            <a:srgbClr val="5ACBF0"/>
          </p15:clr>
        </p15:guide>
        <p15:guide id="30" pos="6138">
          <p15:clr>
            <a:srgbClr val="5ACBF0"/>
          </p15:clr>
        </p15:guide>
        <p15:guide id="31" pos="6342">
          <p15:clr>
            <a:srgbClr val="5ACBF0"/>
          </p15:clr>
        </p15:guide>
        <p15:guide id="32" pos="7338">
          <p15:clr>
            <a:srgbClr val="C35EA4"/>
          </p15:clr>
        </p15:guide>
        <p15:guide id="33" orient="horz" pos="541">
          <p15:clr>
            <a:srgbClr val="5ACBF0"/>
          </p15:clr>
        </p15:guide>
        <p15:guide id="34" orient="horz" pos="797">
          <p15:clr>
            <a:srgbClr val="C35EA4"/>
          </p15:clr>
        </p15:guide>
        <p15:guide id="35" orient="horz" pos="1071">
          <p15:clr>
            <a:srgbClr val="C35EA4"/>
          </p15:clr>
        </p15:guide>
        <p15:guide id="36" orient="horz" pos="3929">
          <p15:clr>
            <a:srgbClr val="C35EA4"/>
          </p15:clr>
        </p15:guide>
        <p15:guide id="37" orient="horz" pos="34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Layout" Target="../slideLayouts/slideLayout118.xml"/><Relationship Id="rId4" Type="http://schemas.openxmlformats.org/officeDocument/2006/relationships/image" Target="../media/image63.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2.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hyperlink" Target="mailto:alanwc@amazon.com" TargetMode="External"/><Relationship Id="rId7"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43.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hyperlink" Target="https://www.linkedin.com/in/alanwcampbell/" TargetMode="External"/><Relationship Id="rId9" Type="http://schemas.openxmlformats.org/officeDocument/2006/relationships/image" Target="../media/image51.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18.xml"/><Relationship Id="rId6" Type="http://schemas.openxmlformats.org/officeDocument/2006/relationships/image" Target="../media/image60.gif"/><Relationship Id="rId5" Type="http://schemas.openxmlformats.org/officeDocument/2006/relationships/image" Target="../media/image59.png"/><Relationship Id="rId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C4A6C0-04D2-1F1B-4BB9-7082FE79B8F6}"/>
              </a:ext>
            </a:extLst>
          </p:cNvPr>
          <p:cNvSpPr>
            <a:spLocks noGrp="1"/>
          </p:cNvSpPr>
          <p:nvPr>
            <p:ph type="body" sz="quarter" idx="14"/>
          </p:nvPr>
        </p:nvSpPr>
        <p:spPr>
          <a:xfrm>
            <a:off x="426595" y="4678434"/>
            <a:ext cx="3702329" cy="369332"/>
          </a:xfrm>
        </p:spPr>
        <p:txBody>
          <a:bodyPr/>
          <a:lstStyle/>
          <a:p>
            <a:r>
              <a:rPr lang="en-US" dirty="0"/>
              <a:t>Kathy O’Donnell</a:t>
            </a:r>
          </a:p>
        </p:txBody>
      </p:sp>
      <p:sp>
        <p:nvSpPr>
          <p:cNvPr id="4" name="Text Placeholder 3">
            <a:extLst>
              <a:ext uri="{FF2B5EF4-FFF2-40B4-BE49-F238E27FC236}">
                <a16:creationId xmlns:a16="http://schemas.microsoft.com/office/drawing/2014/main" id="{9076C9F5-A30F-3028-BBD6-17032C9BB39C}"/>
              </a:ext>
            </a:extLst>
          </p:cNvPr>
          <p:cNvSpPr>
            <a:spLocks noGrp="1"/>
          </p:cNvSpPr>
          <p:nvPr>
            <p:ph type="body" sz="quarter" idx="15"/>
          </p:nvPr>
        </p:nvSpPr>
        <p:spPr>
          <a:xfrm>
            <a:off x="426595" y="5052496"/>
            <a:ext cx="3702329" cy="574003"/>
          </a:xfrm>
        </p:spPr>
        <p:txBody>
          <a:bodyPr/>
          <a:lstStyle/>
          <a:p>
            <a:r>
              <a:rPr lang="en-US" dirty="0"/>
              <a:t>Principal AI/ML Solutions Architect</a:t>
            </a:r>
          </a:p>
          <a:p>
            <a:r>
              <a:rPr lang="en-US" dirty="0"/>
              <a:t>Amazon Web Services</a:t>
            </a:r>
          </a:p>
        </p:txBody>
      </p:sp>
      <p:sp>
        <p:nvSpPr>
          <p:cNvPr id="13" name="Title 12">
            <a:extLst>
              <a:ext uri="{FF2B5EF4-FFF2-40B4-BE49-F238E27FC236}">
                <a16:creationId xmlns:a16="http://schemas.microsoft.com/office/drawing/2014/main" id="{4019F4B7-BF65-4A83-B174-D22D18C40585}"/>
              </a:ext>
            </a:extLst>
          </p:cNvPr>
          <p:cNvSpPr>
            <a:spLocks noGrp="1"/>
          </p:cNvSpPr>
          <p:nvPr>
            <p:ph type="ctrTitle"/>
          </p:nvPr>
        </p:nvSpPr>
        <p:spPr>
          <a:xfrm>
            <a:off x="426595" y="2537305"/>
            <a:ext cx="9080820" cy="1604879"/>
          </a:xfrm>
        </p:spPr>
        <p:txBody>
          <a:bodyPr/>
          <a:lstStyle/>
          <a:p>
            <a:r>
              <a:rPr lang="en-US" sz="4400" dirty="0"/>
              <a:t>Agentic AI for </a:t>
            </a:r>
            <a:r>
              <a:rPr lang="en-US" sz="4400" dirty="0" err="1"/>
              <a:t>SatCom</a:t>
            </a:r>
            <a:br>
              <a:rPr lang="en-US" sz="4400" dirty="0"/>
            </a:br>
            <a:endParaRPr lang="en-US" sz="1400" b="0" strike="sngStrike" dirty="0"/>
          </a:p>
        </p:txBody>
      </p:sp>
      <p:sp>
        <p:nvSpPr>
          <p:cNvPr id="5" name="Text Placeholder 2">
            <a:extLst>
              <a:ext uri="{FF2B5EF4-FFF2-40B4-BE49-F238E27FC236}">
                <a16:creationId xmlns:a16="http://schemas.microsoft.com/office/drawing/2014/main" id="{0063253C-761C-41F6-0C5B-880E3CE67595}"/>
              </a:ext>
            </a:extLst>
          </p:cNvPr>
          <p:cNvSpPr txBox="1">
            <a:spLocks/>
          </p:cNvSpPr>
          <p:nvPr/>
        </p:nvSpPr>
        <p:spPr>
          <a:xfrm>
            <a:off x="4301071" y="4683164"/>
            <a:ext cx="3702329" cy="369332"/>
          </a:xfrm>
          <a:prstGeom prst="rect">
            <a:avLst/>
          </a:prstGeom>
        </p:spPr>
        <p:txBody>
          <a:bodyPr vert="horz" wrap="square" lIns="0" tIns="45720" rIns="0" bIns="45720" rtlCol="0">
            <a:spAutoFit/>
          </a:bodyPr>
          <a:lstStyle>
            <a:lvl1pPr marL="0" indent="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None/>
              <a:tabLst/>
              <a:defRPr sz="2000" b="1" kern="1200" cap="none" spc="0" baseline="0">
                <a:solidFill>
                  <a:schemeClr val="bg1"/>
                </a:solidFill>
                <a:latin typeface="+mn-lt"/>
                <a:ea typeface="+mn-ea"/>
                <a:cs typeface="+mn-cs"/>
              </a:defRPr>
            </a:lvl1pPr>
            <a:lvl2pPr marL="573088" indent="-344488"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tabLst/>
              <a:defRPr sz="2400" kern="1200">
                <a:solidFill>
                  <a:schemeClr val="tx1"/>
                </a:solidFill>
                <a:latin typeface="+mn-lt"/>
                <a:ea typeface="+mn-ea"/>
                <a:cs typeface="+mn-cs"/>
              </a:defRPr>
            </a:lvl2pPr>
            <a:lvl3pPr marL="641350" indent="-409575"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r>
              <a:rPr lang="en-US" dirty="0"/>
              <a:t>Alan Campbell</a:t>
            </a:r>
          </a:p>
        </p:txBody>
      </p:sp>
      <p:sp>
        <p:nvSpPr>
          <p:cNvPr id="6" name="Text Placeholder 3">
            <a:extLst>
              <a:ext uri="{FF2B5EF4-FFF2-40B4-BE49-F238E27FC236}">
                <a16:creationId xmlns:a16="http://schemas.microsoft.com/office/drawing/2014/main" id="{8C7120C4-6E1D-0A10-535C-F4C743C8C474}"/>
              </a:ext>
            </a:extLst>
          </p:cNvPr>
          <p:cNvSpPr txBox="1">
            <a:spLocks/>
          </p:cNvSpPr>
          <p:nvPr/>
        </p:nvSpPr>
        <p:spPr>
          <a:xfrm>
            <a:off x="4301071" y="5057226"/>
            <a:ext cx="3702329" cy="574003"/>
          </a:xfrm>
          <a:prstGeom prst="rect">
            <a:avLst/>
          </a:prstGeom>
        </p:spPr>
        <p:txBody>
          <a:bodyPr vert="horz" wrap="square" lIns="0" tIns="45720" rIns="0" bIns="45720" rtlCol="0">
            <a:spAutoFit/>
          </a:bodyPr>
          <a:lstStyle>
            <a:lvl1pPr marL="0" indent="0" algn="l" defTabSz="914400" rtl="0" eaLnBrk="1" latinLnBrk="0" hangingPunct="1">
              <a:lnSpc>
                <a:spcPct val="90000"/>
              </a:lnSpc>
              <a:spcBef>
                <a:spcPts val="0"/>
              </a:spcBef>
              <a:spcAft>
                <a:spcPts val="300"/>
              </a:spcAft>
              <a:buClr>
                <a:schemeClr val="tx1"/>
              </a:buClr>
              <a:buSzPct val="90000"/>
              <a:buFont typeface="Amazon Ember Display" panose="020F0603020204020204" pitchFamily="34" charset="0"/>
              <a:buNone/>
              <a:tabLst/>
              <a:defRPr sz="1600" kern="1200">
                <a:solidFill>
                  <a:schemeClr val="bg1"/>
                </a:solidFill>
                <a:latin typeface="+mn-lt"/>
                <a:ea typeface="+mn-ea"/>
                <a:cs typeface="+mn-cs"/>
              </a:defRPr>
            </a:lvl1pPr>
            <a:lvl2pPr marL="228600" indent="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None/>
              <a:tabLst/>
              <a:defRPr sz="2400" kern="1200">
                <a:solidFill>
                  <a:schemeClr val="tx1"/>
                </a:solidFill>
                <a:latin typeface="+mn-lt"/>
                <a:ea typeface="+mn-ea"/>
                <a:cs typeface="+mn-cs"/>
              </a:defRPr>
            </a:lvl2pPr>
            <a:lvl3pPr marL="457200" indent="0" algn="l" defTabSz="914400" rtl="0" eaLnBrk="1" latinLnBrk="0" hangingPunct="1">
              <a:lnSpc>
                <a:spcPct val="90000"/>
              </a:lnSpc>
              <a:spcBef>
                <a:spcPts val="0"/>
              </a:spcBef>
              <a:spcAft>
                <a:spcPts val="600"/>
              </a:spcAft>
              <a:buClr>
                <a:schemeClr val="tx1"/>
              </a:buClr>
              <a:buFont typeface="Amazon Ember Display" panose="020F0603020204020204" pitchFamily="34" charset="0"/>
              <a:buNone/>
              <a:tabLst/>
              <a:defRPr sz="2000" kern="1200">
                <a:solidFill>
                  <a:schemeClr val="tx1"/>
                </a:solidFill>
                <a:latin typeface="+mn-lt"/>
                <a:ea typeface="+mn-ea"/>
                <a:cs typeface="+mn-cs"/>
              </a:defRPr>
            </a:lvl3pPr>
            <a:lvl4pPr marL="685800" indent="0" algn="l" defTabSz="914400" rtl="0" eaLnBrk="1" latinLnBrk="0" hangingPunct="1">
              <a:lnSpc>
                <a:spcPct val="90000"/>
              </a:lnSpc>
              <a:spcBef>
                <a:spcPts val="0"/>
              </a:spcBef>
              <a:spcAft>
                <a:spcPts val="600"/>
              </a:spcAft>
              <a:buClr>
                <a:schemeClr val="tx1"/>
              </a:buClr>
              <a:buFont typeface="Amazon Ember Display" panose="020F0603020204020204" pitchFamily="34" charset="0"/>
              <a:buNone/>
              <a:tabLst/>
              <a:defRPr sz="1800" kern="1200">
                <a:solidFill>
                  <a:schemeClr val="tx1"/>
                </a:solidFill>
                <a:latin typeface="+mn-lt"/>
                <a:ea typeface="+mn-ea"/>
                <a:cs typeface="+mn-cs"/>
              </a:defRPr>
            </a:lvl4pPr>
            <a:lvl5pPr marL="685800" indent="0" algn="l" defTabSz="914400" rtl="0" eaLnBrk="1" latinLnBrk="0" hangingPunct="1">
              <a:lnSpc>
                <a:spcPct val="90000"/>
              </a:lnSpc>
              <a:spcBef>
                <a:spcPts val="0"/>
              </a:spcBef>
              <a:buClr>
                <a:schemeClr val="tx1"/>
              </a:buClr>
              <a:buFont typeface="Amazon Ember Display" panose="020F0603020204020204" pitchFamily="34" charset="0"/>
              <a:buNone/>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r>
              <a:rPr lang="en-US" dirty="0"/>
              <a:t>VP, Digital Transformation</a:t>
            </a:r>
          </a:p>
          <a:p>
            <a:r>
              <a:rPr lang="en-US" dirty="0"/>
              <a:t>SES Space &amp; Defense</a:t>
            </a:r>
          </a:p>
        </p:txBody>
      </p:sp>
      <p:pic>
        <p:nvPicPr>
          <p:cNvPr id="1026" name="Picture 2" descr="Capabilities - SES Space and Defense">
            <a:extLst>
              <a:ext uri="{FF2B5EF4-FFF2-40B4-BE49-F238E27FC236}">
                <a16:creationId xmlns:a16="http://schemas.microsoft.com/office/drawing/2014/main" id="{D3AEE29A-C4E9-ED11-7ECA-54C1E4AF93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6305" y="433199"/>
            <a:ext cx="1258785" cy="708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18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6B002F9-656C-6B00-02AF-0005DA4E83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6684" y="1674701"/>
            <a:ext cx="3362736" cy="3262432"/>
          </a:xfrm>
          <a:prstGeom prst="rect">
            <a:avLst/>
          </a:prstGeom>
          <a:ln w="12700">
            <a:solidFill>
              <a:schemeClr val="tx1">
                <a:lumMod val="95000"/>
              </a:schemeClr>
            </a:solidFill>
          </a:ln>
        </p:spPr>
      </p:pic>
      <p:sp>
        <p:nvSpPr>
          <p:cNvPr id="12" name="TextBox 11">
            <a:extLst>
              <a:ext uri="{FF2B5EF4-FFF2-40B4-BE49-F238E27FC236}">
                <a16:creationId xmlns:a16="http://schemas.microsoft.com/office/drawing/2014/main" id="{4861507C-B72E-A9BE-F587-9E4FE10FE742}"/>
              </a:ext>
            </a:extLst>
          </p:cNvPr>
          <p:cNvSpPr txBox="1"/>
          <p:nvPr/>
        </p:nvSpPr>
        <p:spPr>
          <a:xfrm>
            <a:off x="4663440" y="1433795"/>
            <a:ext cx="7202245" cy="800219"/>
          </a:xfrm>
          <a:prstGeom prst="rect">
            <a:avLst/>
          </a:prstGeom>
          <a:noFill/>
        </p:spPr>
        <p:txBody>
          <a:bodyPr wrap="square" lIns="0" tIns="45720" rIns="0" bIns="45720" rtlCol="0" anchor="t">
            <a:spAutoFit/>
          </a:bodyPr>
          <a:lstStyle>
            <a:defPPr>
              <a:defRPr lang="en-US"/>
            </a:defPPr>
            <a:lvl1pPr marL="0" algn="l" defTabSz="609576" rtl="0" eaLnBrk="1" latinLnBrk="0" hangingPunct="1">
              <a:defRPr sz="2400" kern="1200">
                <a:solidFill>
                  <a:schemeClr val="tx1"/>
                </a:solidFill>
                <a:latin typeface="+mn-lt"/>
                <a:ea typeface="+mn-ea"/>
                <a:cs typeface="+mn-cs"/>
              </a:defRPr>
            </a:lvl1pPr>
            <a:lvl2pPr marL="609576" algn="l" defTabSz="609576" rtl="0" eaLnBrk="1" latinLnBrk="0" hangingPunct="1">
              <a:defRPr sz="2400" kern="1200">
                <a:solidFill>
                  <a:schemeClr val="tx1"/>
                </a:solidFill>
                <a:latin typeface="+mn-lt"/>
                <a:ea typeface="+mn-ea"/>
                <a:cs typeface="+mn-cs"/>
              </a:defRPr>
            </a:lvl2pPr>
            <a:lvl3pPr marL="1219151" algn="l" defTabSz="609576" rtl="0" eaLnBrk="1" latinLnBrk="0" hangingPunct="1">
              <a:defRPr sz="2400" kern="1200">
                <a:solidFill>
                  <a:schemeClr val="tx1"/>
                </a:solidFill>
                <a:latin typeface="+mn-lt"/>
                <a:ea typeface="+mn-ea"/>
                <a:cs typeface="+mn-cs"/>
              </a:defRPr>
            </a:lvl3pPr>
            <a:lvl4pPr marL="1828727" algn="l" defTabSz="609576" rtl="0" eaLnBrk="1" latinLnBrk="0" hangingPunct="1">
              <a:defRPr sz="2400" kern="1200">
                <a:solidFill>
                  <a:schemeClr val="tx1"/>
                </a:solidFill>
                <a:latin typeface="+mn-lt"/>
                <a:ea typeface="+mn-ea"/>
                <a:cs typeface="+mn-cs"/>
              </a:defRPr>
            </a:lvl4pPr>
            <a:lvl5pPr marL="2438302" algn="l" defTabSz="609576" rtl="0" eaLnBrk="1" latinLnBrk="0" hangingPunct="1">
              <a:defRPr sz="2400" kern="1200">
                <a:solidFill>
                  <a:schemeClr val="tx1"/>
                </a:solidFill>
                <a:latin typeface="+mn-lt"/>
                <a:ea typeface="+mn-ea"/>
                <a:cs typeface="+mn-cs"/>
              </a:defRPr>
            </a:lvl5pPr>
            <a:lvl6pPr marL="3047878" algn="l" defTabSz="609576" rtl="0" eaLnBrk="1" latinLnBrk="0" hangingPunct="1">
              <a:defRPr sz="2400" kern="1200">
                <a:solidFill>
                  <a:schemeClr val="tx1"/>
                </a:solidFill>
                <a:latin typeface="+mn-lt"/>
                <a:ea typeface="+mn-ea"/>
                <a:cs typeface="+mn-cs"/>
              </a:defRPr>
            </a:lvl6pPr>
            <a:lvl7pPr marL="3657454" algn="l" defTabSz="609576" rtl="0" eaLnBrk="1" latinLnBrk="0" hangingPunct="1">
              <a:defRPr sz="2400" kern="1200">
                <a:solidFill>
                  <a:schemeClr val="tx1"/>
                </a:solidFill>
                <a:latin typeface="+mn-lt"/>
                <a:ea typeface="+mn-ea"/>
                <a:cs typeface="+mn-cs"/>
              </a:defRPr>
            </a:lvl7pPr>
            <a:lvl8pPr marL="4267029" algn="l" defTabSz="609576" rtl="0" eaLnBrk="1" latinLnBrk="0" hangingPunct="1">
              <a:defRPr sz="2400" kern="1200">
                <a:solidFill>
                  <a:schemeClr val="tx1"/>
                </a:solidFill>
                <a:latin typeface="+mn-lt"/>
                <a:ea typeface="+mn-ea"/>
                <a:cs typeface="+mn-cs"/>
              </a:defRPr>
            </a:lvl8pPr>
            <a:lvl9pPr marL="4876605" algn="l" defTabSz="609576" rtl="0" eaLnBrk="1" latinLnBrk="0" hangingPunct="1">
              <a:defRPr sz="2400" kern="1200">
                <a:solidFill>
                  <a:schemeClr val="tx1"/>
                </a:solidFill>
                <a:latin typeface="+mn-lt"/>
                <a:ea typeface="+mn-ea"/>
                <a:cs typeface="+mn-cs"/>
              </a:defRPr>
            </a:lvl9pPr>
          </a:lstStyle>
          <a:p>
            <a:r>
              <a:rPr lang="en-US" sz="1800" dirty="0">
                <a:solidFill>
                  <a:schemeClr val="bg1"/>
                </a:solidFill>
              </a:rPr>
              <a:t>PROMPT </a:t>
            </a:r>
          </a:p>
          <a:p>
            <a:r>
              <a:rPr lang="en-US" sz="1400" dirty="0">
                <a:solidFill>
                  <a:schemeClr val="bg1"/>
                </a:solidFill>
              </a:rPr>
              <a:t>"You are an RF Analyst. Determine the modulation type, and if the constellation has noise? Indicate typical causes of the noise."</a:t>
            </a:r>
          </a:p>
        </p:txBody>
      </p:sp>
      <p:sp>
        <p:nvSpPr>
          <p:cNvPr id="14" name="TextBox 13">
            <a:extLst>
              <a:ext uri="{FF2B5EF4-FFF2-40B4-BE49-F238E27FC236}">
                <a16:creationId xmlns:a16="http://schemas.microsoft.com/office/drawing/2014/main" id="{0EF504E3-072D-FD35-A188-04B5CC7F65E4}"/>
              </a:ext>
            </a:extLst>
          </p:cNvPr>
          <p:cNvSpPr txBox="1"/>
          <p:nvPr/>
        </p:nvSpPr>
        <p:spPr>
          <a:xfrm>
            <a:off x="4663440" y="2299067"/>
            <a:ext cx="7202245" cy="4062651"/>
          </a:xfrm>
          <a:prstGeom prst="rect">
            <a:avLst/>
          </a:prstGeom>
          <a:noFill/>
        </p:spPr>
        <p:txBody>
          <a:bodyPr wrap="square" lIns="0" tIns="45720" rIns="0" bIns="45720" rtlCol="0" anchor="t">
            <a:spAutoFit/>
          </a:bodyPr>
          <a:lstStyle>
            <a:defPPr>
              <a:defRPr lang="en-US"/>
            </a:defPPr>
            <a:lvl1pPr marL="0" algn="l" defTabSz="609576" rtl="0" eaLnBrk="1" latinLnBrk="0" hangingPunct="1">
              <a:defRPr sz="2400" kern="1200">
                <a:solidFill>
                  <a:schemeClr val="tx1"/>
                </a:solidFill>
                <a:latin typeface="+mn-lt"/>
                <a:ea typeface="+mn-ea"/>
                <a:cs typeface="+mn-cs"/>
              </a:defRPr>
            </a:lvl1pPr>
            <a:lvl2pPr marL="609576" algn="l" defTabSz="609576" rtl="0" eaLnBrk="1" latinLnBrk="0" hangingPunct="1">
              <a:defRPr sz="2400" kern="1200">
                <a:solidFill>
                  <a:schemeClr val="tx1"/>
                </a:solidFill>
                <a:latin typeface="+mn-lt"/>
                <a:ea typeface="+mn-ea"/>
                <a:cs typeface="+mn-cs"/>
              </a:defRPr>
            </a:lvl2pPr>
            <a:lvl3pPr marL="1219151" algn="l" defTabSz="609576" rtl="0" eaLnBrk="1" latinLnBrk="0" hangingPunct="1">
              <a:defRPr sz="2400" kern="1200">
                <a:solidFill>
                  <a:schemeClr val="tx1"/>
                </a:solidFill>
                <a:latin typeface="+mn-lt"/>
                <a:ea typeface="+mn-ea"/>
                <a:cs typeface="+mn-cs"/>
              </a:defRPr>
            </a:lvl3pPr>
            <a:lvl4pPr marL="1828727" algn="l" defTabSz="609576" rtl="0" eaLnBrk="1" latinLnBrk="0" hangingPunct="1">
              <a:defRPr sz="2400" kern="1200">
                <a:solidFill>
                  <a:schemeClr val="tx1"/>
                </a:solidFill>
                <a:latin typeface="+mn-lt"/>
                <a:ea typeface="+mn-ea"/>
                <a:cs typeface="+mn-cs"/>
              </a:defRPr>
            </a:lvl4pPr>
            <a:lvl5pPr marL="2438302" algn="l" defTabSz="609576" rtl="0" eaLnBrk="1" latinLnBrk="0" hangingPunct="1">
              <a:defRPr sz="2400" kern="1200">
                <a:solidFill>
                  <a:schemeClr val="tx1"/>
                </a:solidFill>
                <a:latin typeface="+mn-lt"/>
                <a:ea typeface="+mn-ea"/>
                <a:cs typeface="+mn-cs"/>
              </a:defRPr>
            </a:lvl5pPr>
            <a:lvl6pPr marL="3047878" algn="l" defTabSz="609576" rtl="0" eaLnBrk="1" latinLnBrk="0" hangingPunct="1">
              <a:defRPr sz="2400" kern="1200">
                <a:solidFill>
                  <a:schemeClr val="tx1"/>
                </a:solidFill>
                <a:latin typeface="+mn-lt"/>
                <a:ea typeface="+mn-ea"/>
                <a:cs typeface="+mn-cs"/>
              </a:defRPr>
            </a:lvl6pPr>
            <a:lvl7pPr marL="3657454" algn="l" defTabSz="609576" rtl="0" eaLnBrk="1" latinLnBrk="0" hangingPunct="1">
              <a:defRPr sz="2400" kern="1200">
                <a:solidFill>
                  <a:schemeClr val="tx1"/>
                </a:solidFill>
                <a:latin typeface="+mn-lt"/>
                <a:ea typeface="+mn-ea"/>
                <a:cs typeface="+mn-cs"/>
              </a:defRPr>
            </a:lvl7pPr>
            <a:lvl8pPr marL="4267029" algn="l" defTabSz="609576" rtl="0" eaLnBrk="1" latinLnBrk="0" hangingPunct="1">
              <a:defRPr sz="2400" kern="1200">
                <a:solidFill>
                  <a:schemeClr val="tx1"/>
                </a:solidFill>
                <a:latin typeface="+mn-lt"/>
                <a:ea typeface="+mn-ea"/>
                <a:cs typeface="+mn-cs"/>
              </a:defRPr>
            </a:lvl8pPr>
            <a:lvl9pPr marL="4876605" algn="l" defTabSz="609576" rtl="0" eaLnBrk="1" latinLnBrk="0" hangingPunct="1">
              <a:defRPr sz="2400" kern="1200">
                <a:solidFill>
                  <a:schemeClr val="tx1"/>
                </a:solidFill>
                <a:latin typeface="+mn-lt"/>
                <a:ea typeface="+mn-ea"/>
                <a:cs typeface="+mn-cs"/>
              </a:defRPr>
            </a:lvl9pPr>
          </a:lstStyle>
          <a:p>
            <a:r>
              <a:rPr lang="en-US" sz="1800" dirty="0">
                <a:solidFill>
                  <a:schemeClr val="bg1"/>
                </a:solidFill>
              </a:rPr>
              <a:t>CLAUDE SONNET</a:t>
            </a:r>
          </a:p>
          <a:p>
            <a:pPr>
              <a:spcAft>
                <a:spcPts val="600"/>
              </a:spcAft>
            </a:pPr>
            <a:r>
              <a:rPr lang="en-US" sz="1200" dirty="0">
                <a:solidFill>
                  <a:schemeClr val="bg1"/>
                </a:solidFill>
                <a:latin typeface="Consolas"/>
              </a:rPr>
              <a:t>Looking at this IQ constellation diagram, I can make the following analysis:</a:t>
            </a:r>
          </a:p>
          <a:p>
            <a:pPr>
              <a:spcAft>
                <a:spcPts val="600"/>
              </a:spcAft>
            </a:pPr>
            <a:r>
              <a:rPr lang="en-US" sz="1200" dirty="0">
                <a:solidFill>
                  <a:schemeClr val="bg1"/>
                </a:solidFill>
                <a:latin typeface="Consolas"/>
              </a:rPr>
              <a:t>1. Modulation Type:</a:t>
            </a:r>
          </a:p>
          <a:p>
            <a:pPr>
              <a:spcAft>
                <a:spcPts val="600"/>
              </a:spcAft>
            </a:pPr>
            <a:r>
              <a:rPr lang="en-US" sz="1200" dirty="0">
                <a:solidFill>
                  <a:schemeClr val="bg1"/>
                </a:solidFill>
                <a:latin typeface="Consolas"/>
              </a:rPr>
              <a:t>- This appears to be an 8-PSK (8-Phase Shift Keying) modulation</a:t>
            </a:r>
          </a:p>
          <a:p>
            <a:pPr>
              <a:spcAft>
                <a:spcPts val="600"/>
              </a:spcAft>
            </a:pPr>
            <a:r>
              <a:rPr lang="en-US" sz="1200" dirty="0">
                <a:solidFill>
                  <a:schemeClr val="bg1"/>
                </a:solidFill>
                <a:latin typeface="Consolas"/>
              </a:rPr>
              <a:t>2. Noise Present:</a:t>
            </a:r>
          </a:p>
          <a:p>
            <a:pPr>
              <a:spcAft>
                <a:spcPts val="600"/>
              </a:spcAft>
            </a:pPr>
            <a:r>
              <a:rPr lang="en-US" sz="1200" dirty="0">
                <a:solidFill>
                  <a:schemeClr val="bg1"/>
                </a:solidFill>
                <a:latin typeface="Consolas"/>
              </a:rPr>
              <a:t>- Yes, there is visible noise in the constellation</a:t>
            </a:r>
          </a:p>
          <a:p>
            <a:pPr>
              <a:spcAft>
                <a:spcPts val="600"/>
              </a:spcAft>
            </a:pPr>
            <a:r>
              <a:rPr lang="en-US" sz="1200" dirty="0">
                <a:solidFill>
                  <a:schemeClr val="bg1"/>
                </a:solidFill>
                <a:latin typeface="Consolas"/>
              </a:rPr>
              <a:t>- The spread appears to be roughly Gaussian in nature</a:t>
            </a:r>
          </a:p>
          <a:p>
            <a:pPr>
              <a:spcAft>
                <a:spcPts val="600"/>
              </a:spcAft>
            </a:pPr>
            <a:r>
              <a:rPr lang="en-US" sz="1200" dirty="0">
                <a:solidFill>
                  <a:schemeClr val="bg1"/>
                </a:solidFill>
                <a:latin typeface="Consolas"/>
              </a:rPr>
              <a:t>3. Typical Causes:</a:t>
            </a:r>
          </a:p>
          <a:p>
            <a:pPr>
              <a:spcAft>
                <a:spcPts val="600"/>
              </a:spcAft>
            </a:pPr>
            <a:r>
              <a:rPr lang="en-US" sz="1200" dirty="0">
                <a:solidFill>
                  <a:schemeClr val="bg1"/>
                </a:solidFill>
                <a:latin typeface="Consolas"/>
              </a:rPr>
              <a:t>- Additive White Gaussian Noise (AWGN) is likely the primary contributor, caused by:</a:t>
            </a:r>
            <a:endParaRPr lang="en-US" sz="1200" dirty="0">
              <a:solidFill>
                <a:schemeClr val="bg1"/>
              </a:solidFill>
              <a:latin typeface="Consolas"/>
              <a:ea typeface="Calibri"/>
              <a:cs typeface="Calibri"/>
            </a:endParaRPr>
          </a:p>
          <a:p>
            <a:pPr>
              <a:spcAft>
                <a:spcPts val="600"/>
              </a:spcAft>
            </a:pPr>
            <a:r>
              <a:rPr lang="en-US" sz="1200" dirty="0">
                <a:solidFill>
                  <a:schemeClr val="bg1"/>
                </a:solidFill>
                <a:latin typeface="Consolas"/>
              </a:rPr>
              <a:t>  * Low signal-to-noise ratio (SNR)</a:t>
            </a:r>
          </a:p>
          <a:p>
            <a:pPr>
              <a:spcAft>
                <a:spcPts val="600"/>
              </a:spcAft>
            </a:pPr>
            <a:r>
              <a:rPr lang="en-US" sz="1200" dirty="0">
                <a:solidFill>
                  <a:schemeClr val="bg1"/>
                </a:solidFill>
                <a:latin typeface="Consolas"/>
              </a:rPr>
              <a:t>  * Channel interference</a:t>
            </a:r>
          </a:p>
          <a:p>
            <a:pPr>
              <a:spcAft>
                <a:spcPts val="600"/>
              </a:spcAft>
            </a:pPr>
            <a:r>
              <a:rPr lang="en-US" sz="1200" dirty="0">
                <a:solidFill>
                  <a:schemeClr val="bg1"/>
                </a:solidFill>
                <a:latin typeface="Consolas"/>
              </a:rPr>
              <a:t>  * Phase noise in the local oscillator</a:t>
            </a:r>
          </a:p>
          <a:p>
            <a:pPr>
              <a:spcAft>
                <a:spcPts val="600"/>
              </a:spcAft>
            </a:pPr>
            <a:r>
              <a:rPr lang="en-US" sz="1200" dirty="0">
                <a:solidFill>
                  <a:schemeClr val="bg1"/>
                </a:solidFill>
                <a:latin typeface="Consolas"/>
              </a:rPr>
              <a:t>- There doesn't appear to be any significant amplitude or phase imbalance, as the constellation points are relatively symmetrical</a:t>
            </a:r>
          </a:p>
          <a:p>
            <a:pPr>
              <a:spcAft>
                <a:spcPts val="600"/>
              </a:spcAft>
            </a:pPr>
            <a:r>
              <a:rPr lang="en-US" sz="1200" dirty="0">
                <a:solidFill>
                  <a:schemeClr val="bg1"/>
                </a:solidFill>
                <a:latin typeface="Consolas"/>
              </a:rPr>
              <a:t>Overall, while there is noticeable noise, the constellation points are still clearly distinguishable, suggesting this is still a functional communication link</a:t>
            </a:r>
          </a:p>
        </p:txBody>
      </p:sp>
      <p:sp>
        <p:nvSpPr>
          <p:cNvPr id="5" name="Text Placeholder 4">
            <a:extLst>
              <a:ext uri="{FF2B5EF4-FFF2-40B4-BE49-F238E27FC236}">
                <a16:creationId xmlns:a16="http://schemas.microsoft.com/office/drawing/2014/main" id="{8A213417-D261-E51F-29FF-CEA491FEFD64}"/>
              </a:ext>
            </a:extLst>
          </p:cNvPr>
          <p:cNvSpPr>
            <a:spLocks noGrp="1"/>
          </p:cNvSpPr>
          <p:nvPr>
            <p:ph type="body" sz="quarter" idx="13"/>
          </p:nvPr>
        </p:nvSpPr>
        <p:spPr/>
        <p:txBody>
          <a:bodyPr/>
          <a:lstStyle/>
          <a:p>
            <a:endParaRPr lang="en-US"/>
          </a:p>
        </p:txBody>
      </p:sp>
      <p:sp>
        <p:nvSpPr>
          <p:cNvPr id="3" name="Title 1">
            <a:extLst>
              <a:ext uri="{FF2B5EF4-FFF2-40B4-BE49-F238E27FC236}">
                <a16:creationId xmlns:a16="http://schemas.microsoft.com/office/drawing/2014/main" id="{AD1F5F23-AA8E-E643-698D-BC0881D71D4C}"/>
              </a:ext>
            </a:extLst>
          </p:cNvPr>
          <p:cNvSpPr>
            <a:spLocks noGrp="1"/>
          </p:cNvSpPr>
          <p:nvPr>
            <p:ph type="title"/>
          </p:nvPr>
        </p:nvSpPr>
        <p:spPr/>
        <p:txBody>
          <a:bodyPr>
            <a:noAutofit/>
          </a:bodyPr>
          <a:lstStyle/>
          <a:p>
            <a:r>
              <a:rPr lang="en-US" dirty="0">
                <a:latin typeface="Amazon Ember Display"/>
                <a:ea typeface="Amazon Ember Display"/>
                <a:cs typeface="Amazon Ember Display"/>
              </a:rPr>
              <a:t>Generative AI - IQ Constellation interference detection</a:t>
            </a:r>
          </a:p>
        </p:txBody>
      </p:sp>
      <p:pic>
        <p:nvPicPr>
          <p:cNvPr id="2" name="Graphic 1" descr="Amazon Bedrock service icon.">
            <a:extLst>
              <a:ext uri="{FF2B5EF4-FFF2-40B4-BE49-F238E27FC236}">
                <a16:creationId xmlns:a16="http://schemas.microsoft.com/office/drawing/2014/main" id="{5F754AC7-1E5D-D038-0728-693CD2727E0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016460" y="5227206"/>
            <a:ext cx="762000" cy="762000"/>
          </a:xfrm>
          <a:prstGeom prst="rect">
            <a:avLst/>
          </a:prstGeom>
        </p:spPr>
      </p:pic>
      <p:sp>
        <p:nvSpPr>
          <p:cNvPr id="4" name="TextBox 12">
            <a:extLst>
              <a:ext uri="{FF2B5EF4-FFF2-40B4-BE49-F238E27FC236}">
                <a16:creationId xmlns:a16="http://schemas.microsoft.com/office/drawing/2014/main" id="{860CF60B-0583-0AB4-4188-5121559D4829}"/>
              </a:ext>
            </a:extLst>
          </p:cNvPr>
          <p:cNvSpPr txBox="1">
            <a:spLocks noChangeArrowheads="1"/>
          </p:cNvSpPr>
          <p:nvPr/>
        </p:nvSpPr>
        <p:spPr bwMode="auto">
          <a:xfrm>
            <a:off x="1250888" y="5990793"/>
            <a:ext cx="22788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dirty="0">
                <a:latin typeface="Arial" panose="020B0604020202020204" pitchFamily="34" charset="0"/>
                <a:ea typeface="Amazon Ember" panose="020B0603020204020204" pitchFamily="34" charset="0"/>
                <a:cs typeface="Arial" panose="020B0604020202020204" pitchFamily="34" charset="0"/>
              </a:rPr>
              <a:t>Amazon Bedrock</a:t>
            </a:r>
          </a:p>
        </p:txBody>
      </p:sp>
    </p:spTree>
    <p:extLst>
      <p:ext uri="{BB962C8B-B14F-4D97-AF65-F5344CB8AC3E}">
        <p14:creationId xmlns:p14="http://schemas.microsoft.com/office/powerpoint/2010/main" val="311482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iterate type="wd">
                                    <p:tmPct val="10000"/>
                                  </p:iterate>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1150"/>
                            </p:stCondLst>
                            <p:childTnLst>
                              <p:par>
                                <p:cTn id="9" presetID="10" presetClass="entr" presetSubtype="0" fill="hold" nodeType="afterEffect">
                                  <p:stCondLst>
                                    <p:cond delay="0"/>
                                  </p:stCondLst>
                                  <p:iterate type="wd">
                                    <p:tmPct val="10000"/>
                                  </p:iterate>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par>
                          <p:cTn id="12" fill="hold">
                            <p:stCondLst>
                              <p:cond delay="1850"/>
                            </p:stCondLst>
                            <p:childTnLst>
                              <p:par>
                                <p:cTn id="13" presetID="10" presetClass="entr" presetSubtype="0" fill="hold" nodeType="afterEffect">
                                  <p:stCondLst>
                                    <p:cond delay="0"/>
                                  </p:stCondLst>
                                  <p:iterate type="wd">
                                    <p:tmPct val="10000"/>
                                  </p:iterate>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500"/>
                                        <p:tgtEl>
                                          <p:spTgt spid="14">
                                            <p:txEl>
                                              <p:pRg st="3" end="3"/>
                                            </p:txEl>
                                          </p:spTgt>
                                        </p:tgtEl>
                                      </p:cBhvr>
                                    </p:animEffect>
                                  </p:childTnLst>
                                </p:cTn>
                              </p:par>
                            </p:childTnLst>
                          </p:cTn>
                        </p:par>
                        <p:par>
                          <p:cTn id="16" fill="hold">
                            <p:stCondLst>
                              <p:cond delay="2950"/>
                            </p:stCondLst>
                            <p:childTnLst>
                              <p:par>
                                <p:cTn id="17" presetID="10" presetClass="entr" presetSubtype="0" fill="hold" nodeType="afterEffect">
                                  <p:stCondLst>
                                    <p:cond delay="0"/>
                                  </p:stCondLst>
                                  <p:iterate type="wd">
                                    <p:tmPct val="10000"/>
                                  </p:iterate>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3650"/>
                            </p:stCondLst>
                            <p:childTnLst>
                              <p:par>
                                <p:cTn id="21" presetID="10" presetClass="entr" presetSubtype="0" fill="hold" nodeType="afterEffect">
                                  <p:stCondLst>
                                    <p:cond delay="0"/>
                                  </p:stCondLst>
                                  <p:iterate type="wd">
                                    <p:tmPct val="10000"/>
                                  </p:iterate>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par>
                          <p:cTn id="24" fill="hold">
                            <p:stCondLst>
                              <p:cond delay="4600"/>
                            </p:stCondLst>
                            <p:childTnLst>
                              <p:par>
                                <p:cTn id="25" presetID="10" presetClass="entr" presetSubtype="0" fill="hold" nodeType="afterEffect">
                                  <p:stCondLst>
                                    <p:cond delay="0"/>
                                  </p:stCondLst>
                                  <p:iterate type="wd">
                                    <p:tmPct val="10000"/>
                                  </p:iterate>
                                  <p:childTnLst>
                                    <p:set>
                                      <p:cBhvr>
                                        <p:cTn id="26" dur="1" fill="hold">
                                          <p:stCondLst>
                                            <p:cond delay="0"/>
                                          </p:stCondLst>
                                        </p:cTn>
                                        <p:tgtEl>
                                          <p:spTgt spid="14">
                                            <p:txEl>
                                              <p:pRg st="6" end="6"/>
                                            </p:txEl>
                                          </p:spTgt>
                                        </p:tgtEl>
                                        <p:attrNameLst>
                                          <p:attrName>style.visibility</p:attrName>
                                        </p:attrNameLst>
                                      </p:cBhvr>
                                      <p:to>
                                        <p:strVal val="visible"/>
                                      </p:to>
                                    </p:set>
                                    <p:animEffect transition="in" filter="fade">
                                      <p:cBhvr>
                                        <p:cTn id="27" dur="500"/>
                                        <p:tgtEl>
                                          <p:spTgt spid="14">
                                            <p:txEl>
                                              <p:pRg st="6" end="6"/>
                                            </p:txEl>
                                          </p:spTgt>
                                        </p:tgtEl>
                                      </p:cBhvr>
                                    </p:animEffect>
                                  </p:childTnLst>
                                </p:cTn>
                              </p:par>
                            </p:childTnLst>
                          </p:cTn>
                        </p:par>
                        <p:par>
                          <p:cTn id="28" fill="hold">
                            <p:stCondLst>
                              <p:cond delay="5550"/>
                            </p:stCondLst>
                            <p:childTnLst>
                              <p:par>
                                <p:cTn id="29" presetID="10" presetClass="entr" presetSubtype="0" fill="hold" nodeType="afterEffect">
                                  <p:stCondLst>
                                    <p:cond delay="0"/>
                                  </p:stCondLst>
                                  <p:iterate type="wd">
                                    <p:tmPct val="10000"/>
                                  </p:iterate>
                                  <p:childTnLst>
                                    <p:set>
                                      <p:cBhvr>
                                        <p:cTn id="30" dur="1" fill="hold">
                                          <p:stCondLst>
                                            <p:cond delay="0"/>
                                          </p:stCondLst>
                                        </p:cTn>
                                        <p:tgtEl>
                                          <p:spTgt spid="14">
                                            <p:txEl>
                                              <p:pRg st="7" end="7"/>
                                            </p:txEl>
                                          </p:spTgt>
                                        </p:tgtEl>
                                        <p:attrNameLst>
                                          <p:attrName>style.visibility</p:attrName>
                                        </p:attrNameLst>
                                      </p:cBhvr>
                                      <p:to>
                                        <p:strVal val="visible"/>
                                      </p:to>
                                    </p:set>
                                    <p:animEffect transition="in" filter="fade">
                                      <p:cBhvr>
                                        <p:cTn id="31" dur="500"/>
                                        <p:tgtEl>
                                          <p:spTgt spid="14">
                                            <p:txEl>
                                              <p:pRg st="7" end="7"/>
                                            </p:txEl>
                                          </p:spTgt>
                                        </p:tgtEl>
                                      </p:cBhvr>
                                    </p:animEffect>
                                  </p:childTnLst>
                                </p:cTn>
                              </p:par>
                            </p:childTnLst>
                          </p:cTn>
                        </p:par>
                        <p:par>
                          <p:cTn id="32" fill="hold">
                            <p:stCondLst>
                              <p:cond delay="6250"/>
                            </p:stCondLst>
                            <p:childTnLst>
                              <p:par>
                                <p:cTn id="33" presetID="10" presetClass="entr" presetSubtype="0" fill="hold" nodeType="afterEffect">
                                  <p:stCondLst>
                                    <p:cond delay="0"/>
                                  </p:stCondLst>
                                  <p:iterate type="wd">
                                    <p:tmPct val="10000"/>
                                  </p:iterate>
                                  <p:childTnLst>
                                    <p:set>
                                      <p:cBhvr>
                                        <p:cTn id="34" dur="1" fill="hold">
                                          <p:stCondLst>
                                            <p:cond delay="0"/>
                                          </p:stCondLst>
                                        </p:cTn>
                                        <p:tgtEl>
                                          <p:spTgt spid="14">
                                            <p:txEl>
                                              <p:pRg st="8" end="8"/>
                                            </p:txEl>
                                          </p:spTgt>
                                        </p:tgtEl>
                                        <p:attrNameLst>
                                          <p:attrName>style.visibility</p:attrName>
                                        </p:attrNameLst>
                                      </p:cBhvr>
                                      <p:to>
                                        <p:strVal val="visible"/>
                                      </p:to>
                                    </p:set>
                                    <p:animEffect transition="in" filter="fade">
                                      <p:cBhvr>
                                        <p:cTn id="35" dur="500"/>
                                        <p:tgtEl>
                                          <p:spTgt spid="14">
                                            <p:txEl>
                                              <p:pRg st="8" end="8"/>
                                            </p:txEl>
                                          </p:spTgt>
                                        </p:tgtEl>
                                      </p:cBhvr>
                                    </p:animEffect>
                                  </p:childTnLst>
                                </p:cTn>
                              </p:par>
                            </p:childTnLst>
                          </p:cTn>
                        </p:par>
                        <p:par>
                          <p:cTn id="36" fill="hold">
                            <p:stCondLst>
                              <p:cond delay="7550"/>
                            </p:stCondLst>
                            <p:childTnLst>
                              <p:par>
                                <p:cTn id="37" presetID="10" presetClass="entr" presetSubtype="0" fill="hold" nodeType="afterEffect">
                                  <p:stCondLst>
                                    <p:cond delay="0"/>
                                  </p:stCondLst>
                                  <p:iterate type="wd">
                                    <p:tmPct val="10000"/>
                                  </p:iterate>
                                  <p:childTnLst>
                                    <p:set>
                                      <p:cBhvr>
                                        <p:cTn id="38" dur="1" fill="hold">
                                          <p:stCondLst>
                                            <p:cond delay="0"/>
                                          </p:stCondLst>
                                        </p:cTn>
                                        <p:tgtEl>
                                          <p:spTgt spid="14">
                                            <p:txEl>
                                              <p:pRg st="9" end="9"/>
                                            </p:txEl>
                                          </p:spTgt>
                                        </p:tgtEl>
                                        <p:attrNameLst>
                                          <p:attrName>style.visibility</p:attrName>
                                        </p:attrNameLst>
                                      </p:cBhvr>
                                      <p:to>
                                        <p:strVal val="visible"/>
                                      </p:to>
                                    </p:set>
                                    <p:animEffect transition="in" filter="fade">
                                      <p:cBhvr>
                                        <p:cTn id="39" dur="500"/>
                                        <p:tgtEl>
                                          <p:spTgt spid="14">
                                            <p:txEl>
                                              <p:pRg st="9" end="9"/>
                                            </p:txEl>
                                          </p:spTgt>
                                        </p:tgtEl>
                                      </p:cBhvr>
                                    </p:animEffect>
                                  </p:childTnLst>
                                </p:cTn>
                              </p:par>
                            </p:childTnLst>
                          </p:cTn>
                        </p:par>
                        <p:par>
                          <p:cTn id="40" fill="hold">
                            <p:stCondLst>
                              <p:cond delay="8400"/>
                            </p:stCondLst>
                            <p:childTnLst>
                              <p:par>
                                <p:cTn id="41" presetID="10" presetClass="entr" presetSubtype="0" fill="hold" nodeType="afterEffect">
                                  <p:stCondLst>
                                    <p:cond delay="0"/>
                                  </p:stCondLst>
                                  <p:iterate type="wd">
                                    <p:tmPct val="10000"/>
                                  </p:iterate>
                                  <p:childTnLst>
                                    <p:set>
                                      <p:cBhvr>
                                        <p:cTn id="42" dur="1" fill="hold">
                                          <p:stCondLst>
                                            <p:cond delay="0"/>
                                          </p:stCondLst>
                                        </p:cTn>
                                        <p:tgtEl>
                                          <p:spTgt spid="14">
                                            <p:txEl>
                                              <p:pRg st="10" end="10"/>
                                            </p:txEl>
                                          </p:spTgt>
                                        </p:tgtEl>
                                        <p:attrNameLst>
                                          <p:attrName>style.visibility</p:attrName>
                                        </p:attrNameLst>
                                      </p:cBhvr>
                                      <p:to>
                                        <p:strVal val="visible"/>
                                      </p:to>
                                    </p:set>
                                    <p:animEffect transition="in" filter="fade">
                                      <p:cBhvr>
                                        <p:cTn id="43" dur="500"/>
                                        <p:tgtEl>
                                          <p:spTgt spid="14">
                                            <p:txEl>
                                              <p:pRg st="10" end="10"/>
                                            </p:txEl>
                                          </p:spTgt>
                                        </p:tgtEl>
                                      </p:cBhvr>
                                    </p:animEffect>
                                  </p:childTnLst>
                                </p:cTn>
                              </p:par>
                            </p:childTnLst>
                          </p:cTn>
                        </p:par>
                        <p:par>
                          <p:cTn id="44" fill="hold">
                            <p:stCondLst>
                              <p:cond delay="9050"/>
                            </p:stCondLst>
                            <p:childTnLst>
                              <p:par>
                                <p:cTn id="45" presetID="10" presetClass="entr" presetSubtype="0" fill="hold" nodeType="afterEffect">
                                  <p:stCondLst>
                                    <p:cond delay="0"/>
                                  </p:stCondLst>
                                  <p:iterate type="wd">
                                    <p:tmPct val="10000"/>
                                  </p:iterate>
                                  <p:childTnLst>
                                    <p:set>
                                      <p:cBhvr>
                                        <p:cTn id="46" dur="1" fill="hold">
                                          <p:stCondLst>
                                            <p:cond delay="0"/>
                                          </p:stCondLst>
                                        </p:cTn>
                                        <p:tgtEl>
                                          <p:spTgt spid="14">
                                            <p:txEl>
                                              <p:pRg st="11" end="11"/>
                                            </p:txEl>
                                          </p:spTgt>
                                        </p:tgtEl>
                                        <p:attrNameLst>
                                          <p:attrName>style.visibility</p:attrName>
                                        </p:attrNameLst>
                                      </p:cBhvr>
                                      <p:to>
                                        <p:strVal val="visible"/>
                                      </p:to>
                                    </p:set>
                                    <p:animEffect transition="in" filter="fade">
                                      <p:cBhvr>
                                        <p:cTn id="47" dur="500"/>
                                        <p:tgtEl>
                                          <p:spTgt spid="14">
                                            <p:txEl>
                                              <p:pRg st="11" end="11"/>
                                            </p:txEl>
                                          </p:spTgt>
                                        </p:tgtEl>
                                      </p:cBhvr>
                                    </p:animEffect>
                                  </p:childTnLst>
                                </p:cTn>
                              </p:par>
                            </p:childTnLst>
                          </p:cTn>
                        </p:par>
                        <p:par>
                          <p:cTn id="48" fill="hold">
                            <p:stCondLst>
                              <p:cond delay="9900"/>
                            </p:stCondLst>
                            <p:childTnLst>
                              <p:par>
                                <p:cTn id="49" presetID="10" presetClass="entr" presetSubtype="0" fill="hold" nodeType="afterEffect">
                                  <p:stCondLst>
                                    <p:cond delay="0"/>
                                  </p:stCondLst>
                                  <p:iterate type="wd">
                                    <p:tmPct val="10000"/>
                                  </p:iterate>
                                  <p:childTnLst>
                                    <p:set>
                                      <p:cBhvr>
                                        <p:cTn id="50" dur="1" fill="hold">
                                          <p:stCondLst>
                                            <p:cond delay="0"/>
                                          </p:stCondLst>
                                        </p:cTn>
                                        <p:tgtEl>
                                          <p:spTgt spid="14">
                                            <p:txEl>
                                              <p:pRg st="12" end="12"/>
                                            </p:txEl>
                                          </p:spTgt>
                                        </p:tgtEl>
                                        <p:attrNameLst>
                                          <p:attrName>style.visibility</p:attrName>
                                        </p:attrNameLst>
                                      </p:cBhvr>
                                      <p:to>
                                        <p:strVal val="visible"/>
                                      </p:to>
                                    </p:set>
                                    <p:animEffect transition="in" filter="fade">
                                      <p:cBhvr>
                                        <p:cTn id="51" dur="500"/>
                                        <p:tgtEl>
                                          <p:spTgt spid="14">
                                            <p:txEl>
                                              <p:pRg st="12" end="12"/>
                                            </p:txEl>
                                          </p:spTgt>
                                        </p:tgtEl>
                                      </p:cBhvr>
                                    </p:animEffect>
                                  </p:childTnLst>
                                </p:cTn>
                              </p:par>
                            </p:childTnLst>
                          </p:cTn>
                        </p:par>
                        <p:par>
                          <p:cTn id="52" fill="hold">
                            <p:stCondLst>
                              <p:cond delay="11350"/>
                            </p:stCondLst>
                            <p:childTnLst>
                              <p:par>
                                <p:cTn id="53" presetID="10" presetClass="entr" presetSubtype="0" fill="hold" nodeType="afterEffect">
                                  <p:stCondLst>
                                    <p:cond delay="0"/>
                                  </p:stCondLst>
                                  <p:iterate type="wd">
                                    <p:tmPct val="10000"/>
                                  </p:iterate>
                                  <p:childTnLst>
                                    <p:set>
                                      <p:cBhvr>
                                        <p:cTn id="54" dur="1" fill="hold">
                                          <p:stCondLst>
                                            <p:cond delay="0"/>
                                          </p:stCondLst>
                                        </p:cTn>
                                        <p:tgtEl>
                                          <p:spTgt spid="14">
                                            <p:txEl>
                                              <p:pRg st="13" end="13"/>
                                            </p:txEl>
                                          </p:spTgt>
                                        </p:tgtEl>
                                        <p:attrNameLst>
                                          <p:attrName>style.visibility</p:attrName>
                                        </p:attrNameLst>
                                      </p:cBhvr>
                                      <p:to>
                                        <p:strVal val="visible"/>
                                      </p:to>
                                    </p:set>
                                    <p:animEffect transition="in" filter="fade">
                                      <p:cBhvr>
                                        <p:cTn id="55" dur="500"/>
                                        <p:tgtEl>
                                          <p:spTgt spid="14">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945DD-D2C4-592D-9734-63578259F5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89339D8-5769-DA49-8F0A-8893C243B2F4}"/>
              </a:ext>
            </a:extLst>
          </p:cNvPr>
          <p:cNvSpPr>
            <a:spLocks noGrp="1"/>
          </p:cNvSpPr>
          <p:nvPr>
            <p:ph type="title"/>
          </p:nvPr>
        </p:nvSpPr>
        <p:spPr/>
        <p:txBody>
          <a:bodyPr/>
          <a:lstStyle/>
          <a:p>
            <a:r>
              <a:rPr lang="en-US" dirty="0"/>
              <a:t>Future opportunities to leverage Agentic AI</a:t>
            </a:r>
          </a:p>
        </p:txBody>
      </p:sp>
      <p:sp>
        <p:nvSpPr>
          <p:cNvPr id="4" name="Content Placeholder 3">
            <a:extLst>
              <a:ext uri="{FF2B5EF4-FFF2-40B4-BE49-F238E27FC236}">
                <a16:creationId xmlns:a16="http://schemas.microsoft.com/office/drawing/2014/main" id="{20D5C54C-9E23-EFA4-5D28-1A17BD1D19E7}"/>
              </a:ext>
            </a:extLst>
          </p:cNvPr>
          <p:cNvSpPr>
            <a:spLocks noGrp="1"/>
          </p:cNvSpPr>
          <p:nvPr>
            <p:ph idx="1"/>
          </p:nvPr>
        </p:nvSpPr>
        <p:spPr/>
        <p:txBody>
          <a:bodyPr/>
          <a:lstStyle/>
          <a:p>
            <a:pPr marL="342900" indent="-342900">
              <a:buFont typeface="Arial" panose="020B0604020202020204" pitchFamily="34" charset="0"/>
              <a:buChar char="•"/>
            </a:pPr>
            <a:r>
              <a:rPr lang="en-US" b="0" dirty="0"/>
              <a:t>Capacity management – bandwidth forecasting, beamforming</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Congestion management</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Spectrum monitoring – interference detection &amp; mitigation</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Anomaly detection</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LEO Relay Service</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Waveform adaptability</a:t>
            </a:r>
          </a:p>
        </p:txBody>
      </p:sp>
      <p:sp>
        <p:nvSpPr>
          <p:cNvPr id="2" name="Text Placeholder 1">
            <a:extLst>
              <a:ext uri="{FF2B5EF4-FFF2-40B4-BE49-F238E27FC236}">
                <a16:creationId xmlns:a16="http://schemas.microsoft.com/office/drawing/2014/main" id="{CBBD5DDC-02D6-E787-D30C-EBF828A2711D}"/>
              </a:ext>
            </a:extLst>
          </p:cNvPr>
          <p:cNvSpPr>
            <a:spLocks noGrp="1"/>
          </p:cNvSpPr>
          <p:nvPr>
            <p:ph type="body" sz="quarter" idx="13"/>
          </p:nvPr>
        </p:nvSpPr>
        <p:spPr/>
        <p:txBody>
          <a:bodyPr/>
          <a:lstStyle/>
          <a:p>
            <a:r>
              <a:rPr lang="en-US" dirty="0"/>
              <a:t>Multi-band, multi-orbit secure, sovereign mission assets </a:t>
            </a:r>
          </a:p>
        </p:txBody>
      </p:sp>
    </p:spTree>
    <p:extLst>
      <p:ext uri="{BB962C8B-B14F-4D97-AF65-F5344CB8AC3E}">
        <p14:creationId xmlns:p14="http://schemas.microsoft.com/office/powerpoint/2010/main" val="124809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fade">
                                      <p:cBhvr>
                                        <p:cTn id="27" dur="500"/>
                                        <p:tgtEl>
                                          <p:spTgt spid="4">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10" end="10"/>
                                            </p:txEl>
                                          </p:spTgt>
                                        </p:tgtEl>
                                        <p:attrNameLst>
                                          <p:attrName>style.visibility</p:attrName>
                                        </p:attrNameLst>
                                      </p:cBhvr>
                                      <p:to>
                                        <p:strVal val="visible"/>
                                      </p:to>
                                    </p:set>
                                    <p:animEffect transition="in" filter="fade">
                                      <p:cBhvr>
                                        <p:cTn id="32"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019F4B7-BF65-4A83-B174-D22D18C40585}"/>
              </a:ext>
            </a:extLst>
          </p:cNvPr>
          <p:cNvSpPr>
            <a:spLocks noGrp="1"/>
          </p:cNvSpPr>
          <p:nvPr>
            <p:ph type="ctrTitle"/>
          </p:nvPr>
        </p:nvSpPr>
        <p:spPr>
          <a:xfrm>
            <a:off x="426595" y="2388543"/>
            <a:ext cx="6510652" cy="1604879"/>
          </a:xfrm>
        </p:spPr>
        <p:txBody>
          <a:bodyPr/>
          <a:lstStyle/>
          <a:p>
            <a:r>
              <a:rPr lang="en-US" sz="4400" dirty="0"/>
              <a:t>Thank you</a:t>
            </a:r>
            <a:endParaRPr lang="en-US" sz="1400" b="0" strike="sngStrike" dirty="0"/>
          </a:p>
        </p:txBody>
      </p:sp>
      <p:sp>
        <p:nvSpPr>
          <p:cNvPr id="9" name="Rectangle 8">
            <a:extLst>
              <a:ext uri="{FF2B5EF4-FFF2-40B4-BE49-F238E27FC236}">
                <a16:creationId xmlns:a16="http://schemas.microsoft.com/office/drawing/2014/main" id="{EA813B4F-735C-87C7-293A-DCDB0D8E951C}"/>
              </a:ext>
            </a:extLst>
          </p:cNvPr>
          <p:cNvSpPr/>
          <p:nvPr/>
        </p:nvSpPr>
        <p:spPr>
          <a:xfrm>
            <a:off x="0" y="4114800"/>
            <a:ext cx="12192000" cy="2743200"/>
          </a:xfrm>
          <a:prstGeom prst="rect">
            <a:avLst/>
          </a:prstGeom>
          <a:solidFill>
            <a:schemeClr val="accent6">
              <a:alpha val="505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 name="Text Placeholder 2">
            <a:extLst>
              <a:ext uri="{FF2B5EF4-FFF2-40B4-BE49-F238E27FC236}">
                <a16:creationId xmlns:a16="http://schemas.microsoft.com/office/drawing/2014/main" id="{6875A8E3-EFD2-5257-C055-8D08650FD59E}"/>
              </a:ext>
            </a:extLst>
          </p:cNvPr>
          <p:cNvSpPr>
            <a:spLocks noGrp="1"/>
          </p:cNvSpPr>
          <p:nvPr>
            <p:ph type="body" sz="quarter" idx="14"/>
          </p:nvPr>
        </p:nvSpPr>
        <p:spPr>
          <a:xfrm>
            <a:off x="426595" y="4572926"/>
            <a:ext cx="3793713" cy="1064907"/>
          </a:xfrm>
        </p:spPr>
        <p:txBody>
          <a:bodyPr/>
          <a:lstStyle/>
          <a:p>
            <a:r>
              <a:rPr lang="en-US" sz="1600" dirty="0"/>
              <a:t>Alan Campbell</a:t>
            </a:r>
          </a:p>
          <a:p>
            <a:r>
              <a:rPr lang="en-US" sz="1600" dirty="0">
                <a:solidFill>
                  <a:schemeClr val="tx2">
                    <a:lumMod val="25000"/>
                    <a:lumOff val="75000"/>
                  </a:schemeClr>
                </a:solidFill>
                <a:hlinkClick r:id="rId3">
                  <a:extLst>
                    <a:ext uri="{A12FA001-AC4F-418D-AE19-62706E023703}">
                      <ahyp:hlinkClr xmlns:ahyp="http://schemas.microsoft.com/office/drawing/2018/hyperlinkcolor" val="tx"/>
                    </a:ext>
                  </a:extLst>
                </a:hlinkClick>
              </a:rPr>
              <a:t>alan.campbell@sessd.com</a:t>
            </a:r>
            <a:endParaRPr lang="en-US" sz="1600" dirty="0">
              <a:solidFill>
                <a:schemeClr val="tx2">
                  <a:lumMod val="25000"/>
                  <a:lumOff val="75000"/>
                </a:schemeClr>
              </a:solidFill>
            </a:endParaRPr>
          </a:p>
          <a:p>
            <a:r>
              <a:rPr lang="en-US" sz="1600" dirty="0">
                <a:solidFill>
                  <a:schemeClr val="tx2">
                    <a:lumMod val="25000"/>
                    <a:lumOff val="75000"/>
                  </a:schemeClr>
                </a:solidFill>
                <a:hlinkClick r:id="rId4">
                  <a:extLst>
                    <a:ext uri="{A12FA001-AC4F-418D-AE19-62706E023703}">
                      <ahyp:hlinkClr xmlns:ahyp="http://schemas.microsoft.com/office/drawing/2018/hyperlinkcolor" val="tx"/>
                    </a:ext>
                  </a:extLst>
                </a:hlinkClick>
              </a:rPr>
              <a:t>linkedin.com/in/alanwcampbell/</a:t>
            </a:r>
            <a:r>
              <a:rPr lang="en-US" sz="1600" dirty="0">
                <a:solidFill>
                  <a:schemeClr val="tx2">
                    <a:lumMod val="25000"/>
                    <a:lumOff val="75000"/>
                  </a:schemeClr>
                </a:solidFill>
              </a:rPr>
              <a:t>  </a:t>
            </a:r>
          </a:p>
        </p:txBody>
      </p:sp>
      <p:sp>
        <p:nvSpPr>
          <p:cNvPr id="3" name="Text Placeholder 2">
            <a:extLst>
              <a:ext uri="{FF2B5EF4-FFF2-40B4-BE49-F238E27FC236}">
                <a16:creationId xmlns:a16="http://schemas.microsoft.com/office/drawing/2014/main" id="{A3D43115-E631-EAF9-BB72-1F09894B6248}"/>
              </a:ext>
            </a:extLst>
          </p:cNvPr>
          <p:cNvSpPr txBox="1">
            <a:spLocks/>
          </p:cNvSpPr>
          <p:nvPr/>
        </p:nvSpPr>
        <p:spPr>
          <a:xfrm>
            <a:off x="4220308" y="4572926"/>
            <a:ext cx="3793713" cy="1064907"/>
          </a:xfrm>
          <a:prstGeom prst="rect">
            <a:avLst/>
          </a:prstGeom>
        </p:spPr>
        <p:txBody>
          <a:bodyPr vert="horz" lIns="0" tIns="45720" rIns="0" bIns="45720" rtlCol="0">
            <a:spAutoFit/>
          </a:bodyPr>
          <a:lstStyle>
            <a:lvl1pPr marL="0" indent="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None/>
              <a:defRPr sz="2000" b="1" kern="1200" cap="none" spc="0" baseline="0">
                <a:solidFill>
                  <a:schemeClr val="bg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r>
              <a:rPr lang="en-US" sz="1600" dirty="0"/>
              <a:t>Kathy O’Donnell</a:t>
            </a:r>
          </a:p>
          <a:p>
            <a:r>
              <a:rPr lang="en-US" sz="1600" dirty="0">
                <a:solidFill>
                  <a:schemeClr val="tx2">
                    <a:lumMod val="25000"/>
                    <a:lumOff val="75000"/>
                  </a:schemeClr>
                </a:solidFill>
                <a:hlinkClick r:id="rId3">
                  <a:extLst>
                    <a:ext uri="{A12FA001-AC4F-418D-AE19-62706E023703}">
                      <ahyp:hlinkClr xmlns:ahyp="http://schemas.microsoft.com/office/drawing/2018/hyperlinkcolor" val="tx"/>
                    </a:ext>
                  </a:extLst>
                </a:hlinkClick>
              </a:rPr>
              <a:t>klodon@amazon.com</a:t>
            </a:r>
            <a:endParaRPr lang="en-US" sz="1600" dirty="0">
              <a:solidFill>
                <a:schemeClr val="tx2">
                  <a:lumMod val="25000"/>
                  <a:lumOff val="75000"/>
                </a:schemeClr>
              </a:solidFill>
            </a:endParaRPr>
          </a:p>
          <a:p>
            <a:r>
              <a:rPr lang="en-US" sz="1600" dirty="0">
                <a:solidFill>
                  <a:schemeClr val="tx2">
                    <a:lumMod val="25000"/>
                    <a:lumOff val="75000"/>
                  </a:schemeClr>
                </a:solidFill>
                <a:hlinkClick r:id="rId4">
                  <a:extLst>
                    <a:ext uri="{A12FA001-AC4F-418D-AE19-62706E023703}">
                      <ahyp:hlinkClr xmlns:ahyp="http://schemas.microsoft.com/office/drawing/2018/hyperlinkcolor" val="tx"/>
                    </a:ext>
                  </a:extLst>
                </a:hlinkClick>
              </a:rPr>
              <a:t>linkedin.com/in/klodonnell/</a:t>
            </a:r>
            <a:r>
              <a:rPr lang="en-US" sz="1600" dirty="0">
                <a:solidFill>
                  <a:schemeClr val="tx2">
                    <a:lumMod val="25000"/>
                    <a:lumOff val="75000"/>
                  </a:schemeClr>
                </a:solidFill>
              </a:rPr>
              <a:t>  </a:t>
            </a:r>
          </a:p>
        </p:txBody>
      </p:sp>
      <p:pic>
        <p:nvPicPr>
          <p:cNvPr id="7" name="Graphic 6">
            <a:extLst>
              <a:ext uri="{FF2B5EF4-FFF2-40B4-BE49-F238E27FC236}">
                <a16:creationId xmlns:a16="http://schemas.microsoft.com/office/drawing/2014/main" id="{F78229C5-4BD8-2FF8-2685-C3F44DB2D60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220308" y="5637833"/>
            <a:ext cx="696225" cy="696225"/>
          </a:xfrm>
          <a:prstGeom prst="rect">
            <a:avLst/>
          </a:prstGeom>
        </p:spPr>
      </p:pic>
      <p:pic>
        <p:nvPicPr>
          <p:cNvPr id="8" name="Graphic 7">
            <a:extLst>
              <a:ext uri="{FF2B5EF4-FFF2-40B4-BE49-F238E27FC236}">
                <a16:creationId xmlns:a16="http://schemas.microsoft.com/office/drawing/2014/main" id="{46295647-6AC9-C8FB-6003-BF4CB9C6064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26595" y="5637832"/>
            <a:ext cx="696225" cy="696225"/>
          </a:xfrm>
          <a:prstGeom prst="rect">
            <a:avLst/>
          </a:prstGeom>
        </p:spPr>
      </p:pic>
      <p:pic>
        <p:nvPicPr>
          <p:cNvPr id="10" name="Picture 2" descr="Capabilities - SES Space and Defense">
            <a:extLst>
              <a:ext uri="{FF2B5EF4-FFF2-40B4-BE49-F238E27FC236}">
                <a16:creationId xmlns:a16="http://schemas.microsoft.com/office/drawing/2014/main" id="{AC361F2C-B26C-AA7B-3210-2DE085D60B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66305" y="433199"/>
            <a:ext cx="1258785" cy="708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18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B50FF0-7433-47E3-9DBD-10E2AC09C59C}"/>
              </a:ext>
            </a:extLst>
          </p:cNvPr>
          <p:cNvSpPr>
            <a:spLocks noGrp="1"/>
          </p:cNvSpPr>
          <p:nvPr>
            <p:ph type="title"/>
          </p:nvPr>
        </p:nvSpPr>
        <p:spPr/>
        <p:txBody>
          <a:bodyPr/>
          <a:lstStyle/>
          <a:p>
            <a:endParaRPr lang="en-US" dirty="0"/>
          </a:p>
        </p:txBody>
      </p:sp>
      <p:sp>
        <p:nvSpPr>
          <p:cNvPr id="4" name="TextBox 3">
            <a:extLst>
              <a:ext uri="{FF2B5EF4-FFF2-40B4-BE49-F238E27FC236}">
                <a16:creationId xmlns:a16="http://schemas.microsoft.com/office/drawing/2014/main" id="{D96DDC62-33FE-426F-B970-E6C6A2841945}"/>
              </a:ext>
            </a:extLst>
          </p:cNvPr>
          <p:cNvSpPr txBox="1"/>
          <p:nvPr/>
        </p:nvSpPr>
        <p:spPr>
          <a:xfrm>
            <a:off x="1829999" y="3048843"/>
            <a:ext cx="8532000" cy="1754326"/>
          </a:xfrm>
          <a:prstGeom prst="rect">
            <a:avLst/>
          </a:prstGeom>
          <a:noFill/>
        </p:spPr>
        <p:txBody>
          <a:bodyPr wrap="square" lIns="0" rIns="0" rtlCol="0">
            <a:spAutoFit/>
          </a:bodyPr>
          <a:lstStyle/>
          <a:p>
            <a:pPr lvl="0" algn="ctr">
              <a:defRPr/>
            </a:pPr>
            <a:r>
              <a:rPr lang="en-US" sz="3600" dirty="0">
                <a:solidFill>
                  <a:srgbClr val="F5F7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Autonomous software systems that leverage AI to reason, plan, and complete tasks on behalf of humans or systems </a:t>
            </a:r>
          </a:p>
        </p:txBody>
      </p:sp>
      <p:sp>
        <p:nvSpPr>
          <p:cNvPr id="5" name="TextBox 4">
            <a:extLst>
              <a:ext uri="{FF2B5EF4-FFF2-40B4-BE49-F238E27FC236}">
                <a16:creationId xmlns:a16="http://schemas.microsoft.com/office/drawing/2014/main" id="{28EAC114-7DE1-462D-8956-EFD7A18F9DCA}"/>
              </a:ext>
            </a:extLst>
          </p:cNvPr>
          <p:cNvSpPr txBox="1"/>
          <p:nvPr/>
        </p:nvSpPr>
        <p:spPr>
          <a:xfrm>
            <a:off x="1710182" y="1832267"/>
            <a:ext cx="8771633" cy="923330"/>
          </a:xfrm>
          <a:prstGeom prst="rect">
            <a:avLst/>
          </a:prstGeom>
          <a:noFill/>
        </p:spPr>
        <p:txBody>
          <a:bodyPr wrap="none" lIns="0" rIns="0" rtlCol="0" anchor="ctr">
            <a:spAutoFit/>
          </a:bodyPr>
          <a:lstStyle/>
          <a:p>
            <a:pPr algn="ctr" defTabSz="1625620">
              <a:lnSpc>
                <a:spcPct val="90000"/>
              </a:lnSpc>
              <a:spcBef>
                <a:spcPts val="1778"/>
              </a:spcBef>
            </a:pPr>
            <a:r>
              <a:rPr lang="en-US" sz="6000" dirty="0">
                <a:gradFill>
                  <a:gsLst>
                    <a:gs pos="8000">
                      <a:srgbClr val="0EEDAF">
                        <a:lumMod val="75000"/>
                      </a:srgbClr>
                    </a:gs>
                    <a:gs pos="59000">
                      <a:srgbClr val="2C0152">
                        <a:lumMod val="50000"/>
                        <a:lumOff val="50000"/>
                      </a:srgbClr>
                    </a:gs>
                    <a:gs pos="100000">
                      <a:srgbClr val="FF901E"/>
                    </a:gs>
                  </a:gsLst>
                  <a:path path="circle">
                    <a:fillToRect t="100000" r="100000"/>
                  </a:path>
                </a:gradFill>
                <a:latin typeface="Amazon Ember Mono" panose="020B0509020204020204" pitchFamily="49" charset="0"/>
                <a:ea typeface="Amazon Ember Mono" panose="020B0509020204020204" pitchFamily="49" charset="0"/>
                <a:cs typeface="Amazon Ember Mono" panose="020B0509020204020204" pitchFamily="49" charset="0"/>
              </a:rPr>
              <a:t>What are AI Agents?</a:t>
            </a:r>
          </a:p>
        </p:txBody>
      </p:sp>
      <p:sp>
        <p:nvSpPr>
          <p:cNvPr id="6" name="Freeform 8">
            <a:extLst>
              <a:ext uri="{FF2B5EF4-FFF2-40B4-BE49-F238E27FC236}">
                <a16:creationId xmlns:a16="http://schemas.microsoft.com/office/drawing/2014/main" id="{8859D5B6-43B0-48A9-A6E7-2882CB3ECEEC}"/>
              </a:ext>
            </a:extLst>
          </p:cNvPr>
          <p:cNvSpPr/>
          <p:nvPr/>
        </p:nvSpPr>
        <p:spPr>
          <a:xfrm>
            <a:off x="5063411" y="864026"/>
            <a:ext cx="1182528" cy="674996"/>
          </a:xfrm>
          <a:custGeom>
            <a:avLst/>
            <a:gdLst>
              <a:gd name="connsiteX0" fmla="*/ 737711 w 1182528"/>
              <a:gd name="connsiteY0" fmla="*/ 221838 h 674996"/>
              <a:gd name="connsiteX1" fmla="*/ 691515 w 1182528"/>
              <a:gd name="connsiteY1" fmla="*/ 267817 h 674996"/>
              <a:gd name="connsiteX2" fmla="*/ 737711 w 1182528"/>
              <a:gd name="connsiteY2" fmla="*/ 313796 h 674996"/>
              <a:gd name="connsiteX3" fmla="*/ 783907 w 1182528"/>
              <a:gd name="connsiteY3" fmla="*/ 267817 h 674996"/>
              <a:gd name="connsiteX4" fmla="*/ 737711 w 1182528"/>
              <a:gd name="connsiteY4" fmla="*/ 221838 h 674996"/>
              <a:gd name="connsiteX5" fmla="*/ 419576 w 1182528"/>
              <a:gd name="connsiteY5" fmla="*/ 221838 h 674996"/>
              <a:gd name="connsiteX6" fmla="*/ 373380 w 1182528"/>
              <a:gd name="connsiteY6" fmla="*/ 267817 h 674996"/>
              <a:gd name="connsiteX7" fmla="*/ 419576 w 1182528"/>
              <a:gd name="connsiteY7" fmla="*/ 313796 h 674996"/>
              <a:gd name="connsiteX8" fmla="*/ 465772 w 1182528"/>
              <a:gd name="connsiteY8" fmla="*/ 267817 h 674996"/>
              <a:gd name="connsiteX9" fmla="*/ 419576 w 1182528"/>
              <a:gd name="connsiteY9" fmla="*/ 221838 h 674996"/>
              <a:gd name="connsiteX10" fmla="*/ 737711 w 1182528"/>
              <a:gd name="connsiteY10" fmla="*/ 198137 h 674996"/>
              <a:gd name="connsiteX11" fmla="*/ 807720 w 1182528"/>
              <a:gd name="connsiteY11" fmla="*/ 267817 h 674996"/>
              <a:gd name="connsiteX12" fmla="*/ 737711 w 1182528"/>
              <a:gd name="connsiteY12" fmla="*/ 337497 h 674996"/>
              <a:gd name="connsiteX13" fmla="*/ 667702 w 1182528"/>
              <a:gd name="connsiteY13" fmla="*/ 267817 h 674996"/>
              <a:gd name="connsiteX14" fmla="*/ 737711 w 1182528"/>
              <a:gd name="connsiteY14" fmla="*/ 198137 h 674996"/>
              <a:gd name="connsiteX15" fmla="*/ 419576 w 1182528"/>
              <a:gd name="connsiteY15" fmla="*/ 198137 h 674996"/>
              <a:gd name="connsiteX16" fmla="*/ 489585 w 1182528"/>
              <a:gd name="connsiteY16" fmla="*/ 267817 h 674996"/>
              <a:gd name="connsiteX17" fmla="*/ 419576 w 1182528"/>
              <a:gd name="connsiteY17" fmla="*/ 337497 h 674996"/>
              <a:gd name="connsiteX18" fmla="*/ 349567 w 1182528"/>
              <a:gd name="connsiteY18" fmla="*/ 267817 h 674996"/>
              <a:gd name="connsiteX19" fmla="*/ 419576 w 1182528"/>
              <a:gd name="connsiteY19" fmla="*/ 198137 h 674996"/>
              <a:gd name="connsiteX20" fmla="*/ 1070133 w 1182528"/>
              <a:gd name="connsiteY20" fmla="*/ 186572 h 674996"/>
              <a:gd name="connsiteX21" fmla="*/ 1070133 w 1182528"/>
              <a:gd name="connsiteY21" fmla="*/ 488518 h 674996"/>
              <a:gd name="connsiteX22" fmla="*/ 1091469 w 1182528"/>
              <a:gd name="connsiteY22" fmla="*/ 488518 h 674996"/>
              <a:gd name="connsiteX23" fmla="*/ 1091469 w 1182528"/>
              <a:gd name="connsiteY23" fmla="*/ 488519 h 674996"/>
              <a:gd name="connsiteX24" fmla="*/ 1158716 w 1182528"/>
              <a:gd name="connsiteY24" fmla="*/ 488519 h 674996"/>
              <a:gd name="connsiteX25" fmla="*/ 1158716 w 1182528"/>
              <a:gd name="connsiteY25" fmla="*/ 186572 h 674996"/>
              <a:gd name="connsiteX26" fmla="*/ 1073929 w 1182528"/>
              <a:gd name="connsiteY26" fmla="*/ 186572 h 674996"/>
              <a:gd name="connsiteX27" fmla="*/ 23813 w 1182528"/>
              <a:gd name="connsiteY27" fmla="*/ 186477 h 674996"/>
              <a:gd name="connsiteX28" fmla="*/ 23813 w 1182528"/>
              <a:gd name="connsiteY28" fmla="*/ 488424 h 674996"/>
              <a:gd name="connsiteX29" fmla="*/ 108600 w 1182528"/>
              <a:gd name="connsiteY29" fmla="*/ 488424 h 674996"/>
              <a:gd name="connsiteX30" fmla="*/ 110013 w 1182528"/>
              <a:gd name="connsiteY30" fmla="*/ 488424 h 674996"/>
              <a:gd name="connsiteX31" fmla="*/ 110013 w 1182528"/>
              <a:gd name="connsiteY31" fmla="*/ 186477 h 674996"/>
              <a:gd name="connsiteX32" fmla="*/ 91059 w 1182528"/>
              <a:gd name="connsiteY32" fmla="*/ 186477 h 674996"/>
              <a:gd name="connsiteX33" fmla="*/ 140969 w 1182528"/>
              <a:gd name="connsiteY33" fmla="*/ 23701 h 674996"/>
              <a:gd name="connsiteX34" fmla="*/ 133826 w 1182528"/>
              <a:gd name="connsiteY34" fmla="*/ 30811 h 674996"/>
              <a:gd name="connsiteX35" fmla="*/ 133826 w 1182528"/>
              <a:gd name="connsiteY35" fmla="*/ 644185 h 674996"/>
              <a:gd name="connsiteX36" fmla="*/ 140969 w 1182528"/>
              <a:gd name="connsiteY36" fmla="*/ 651295 h 674996"/>
              <a:gd name="connsiteX37" fmla="*/ 282416 w 1182528"/>
              <a:gd name="connsiteY37" fmla="*/ 651295 h 674996"/>
              <a:gd name="connsiteX38" fmla="*/ 846772 w 1182528"/>
              <a:gd name="connsiteY38" fmla="*/ 651295 h 674996"/>
              <a:gd name="connsiteX39" fmla="*/ 1039177 w 1182528"/>
              <a:gd name="connsiteY39" fmla="*/ 651295 h 674996"/>
              <a:gd name="connsiteX40" fmla="*/ 1046321 w 1182528"/>
              <a:gd name="connsiteY40" fmla="*/ 644185 h 674996"/>
              <a:gd name="connsiteX41" fmla="*/ 1046321 w 1182528"/>
              <a:gd name="connsiteY41" fmla="*/ 30811 h 674996"/>
              <a:gd name="connsiteX42" fmla="*/ 1039177 w 1182528"/>
              <a:gd name="connsiteY42" fmla="*/ 23701 h 674996"/>
              <a:gd name="connsiteX43" fmla="*/ 846772 w 1182528"/>
              <a:gd name="connsiteY43" fmla="*/ 23701 h 674996"/>
              <a:gd name="connsiteX44" fmla="*/ 140969 w 1182528"/>
              <a:gd name="connsiteY44" fmla="*/ 0 h 674996"/>
              <a:gd name="connsiteX45" fmla="*/ 846772 w 1182528"/>
              <a:gd name="connsiteY45" fmla="*/ 0 h 674996"/>
              <a:gd name="connsiteX46" fmla="*/ 1039177 w 1182528"/>
              <a:gd name="connsiteY46" fmla="*/ 0 h 674996"/>
              <a:gd name="connsiteX47" fmla="*/ 1070133 w 1182528"/>
              <a:gd name="connsiteY47" fmla="*/ 30811 h 674996"/>
              <a:gd name="connsiteX48" fmla="*/ 1070133 w 1182528"/>
              <a:gd name="connsiteY48" fmla="*/ 162871 h 674996"/>
              <a:gd name="connsiteX49" fmla="*/ 1163478 w 1182528"/>
              <a:gd name="connsiteY49" fmla="*/ 162871 h 674996"/>
              <a:gd name="connsiteX50" fmla="*/ 1182528 w 1182528"/>
              <a:gd name="connsiteY50" fmla="*/ 184202 h 674996"/>
              <a:gd name="connsiteX51" fmla="*/ 1182528 w 1182528"/>
              <a:gd name="connsiteY51" fmla="*/ 490889 h 674996"/>
              <a:gd name="connsiteX52" fmla="*/ 1163478 w 1182528"/>
              <a:gd name="connsiteY52" fmla="*/ 512219 h 674996"/>
              <a:gd name="connsiteX53" fmla="*/ 1091469 w 1182528"/>
              <a:gd name="connsiteY53" fmla="*/ 512219 h 674996"/>
              <a:gd name="connsiteX54" fmla="*/ 1070133 w 1182528"/>
              <a:gd name="connsiteY54" fmla="*/ 512219 h 674996"/>
              <a:gd name="connsiteX55" fmla="*/ 1070133 w 1182528"/>
              <a:gd name="connsiteY55" fmla="*/ 644185 h 674996"/>
              <a:gd name="connsiteX56" fmla="*/ 1039177 w 1182528"/>
              <a:gd name="connsiteY56" fmla="*/ 674996 h 674996"/>
              <a:gd name="connsiteX57" fmla="*/ 846772 w 1182528"/>
              <a:gd name="connsiteY57" fmla="*/ 674996 h 674996"/>
              <a:gd name="connsiteX58" fmla="*/ 282416 w 1182528"/>
              <a:gd name="connsiteY58" fmla="*/ 674996 h 674996"/>
              <a:gd name="connsiteX59" fmla="*/ 140969 w 1182528"/>
              <a:gd name="connsiteY59" fmla="*/ 674996 h 674996"/>
              <a:gd name="connsiteX60" fmla="*/ 110013 w 1182528"/>
              <a:gd name="connsiteY60" fmla="*/ 644185 h 674996"/>
              <a:gd name="connsiteX61" fmla="*/ 110013 w 1182528"/>
              <a:gd name="connsiteY61" fmla="*/ 512219 h 674996"/>
              <a:gd name="connsiteX62" fmla="*/ 19050 w 1182528"/>
              <a:gd name="connsiteY62" fmla="*/ 512219 h 674996"/>
              <a:gd name="connsiteX63" fmla="*/ 0 w 1182528"/>
              <a:gd name="connsiteY63" fmla="*/ 490889 h 674996"/>
              <a:gd name="connsiteX64" fmla="*/ 0 w 1182528"/>
              <a:gd name="connsiteY64" fmla="*/ 184107 h 674996"/>
              <a:gd name="connsiteX65" fmla="*/ 19050 w 1182528"/>
              <a:gd name="connsiteY65" fmla="*/ 162776 h 674996"/>
              <a:gd name="connsiteX66" fmla="*/ 91059 w 1182528"/>
              <a:gd name="connsiteY66" fmla="*/ 162776 h 674996"/>
              <a:gd name="connsiteX67" fmla="*/ 110013 w 1182528"/>
              <a:gd name="connsiteY67" fmla="*/ 162776 h 674996"/>
              <a:gd name="connsiteX68" fmla="*/ 110013 w 1182528"/>
              <a:gd name="connsiteY68" fmla="*/ 30811 h 674996"/>
              <a:gd name="connsiteX69" fmla="*/ 140969 w 1182528"/>
              <a:gd name="connsiteY69" fmla="*/ 0 h 67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82528" h="674996">
                <a:moveTo>
                  <a:pt x="737711" y="221838"/>
                </a:moveTo>
                <a:cubicBezTo>
                  <a:pt x="712279" y="221838"/>
                  <a:pt x="691515" y="242505"/>
                  <a:pt x="691515" y="267817"/>
                </a:cubicBezTo>
                <a:cubicBezTo>
                  <a:pt x="691515" y="293129"/>
                  <a:pt x="712279" y="313796"/>
                  <a:pt x="737711" y="313796"/>
                </a:cubicBezTo>
                <a:cubicBezTo>
                  <a:pt x="763143" y="313796"/>
                  <a:pt x="783907" y="293129"/>
                  <a:pt x="783907" y="267817"/>
                </a:cubicBezTo>
                <a:cubicBezTo>
                  <a:pt x="783907" y="242505"/>
                  <a:pt x="763143" y="221838"/>
                  <a:pt x="737711" y="221838"/>
                </a:cubicBezTo>
                <a:close/>
                <a:moveTo>
                  <a:pt x="419576" y="221838"/>
                </a:moveTo>
                <a:cubicBezTo>
                  <a:pt x="394144" y="221838"/>
                  <a:pt x="373380" y="242505"/>
                  <a:pt x="373380" y="267817"/>
                </a:cubicBezTo>
                <a:cubicBezTo>
                  <a:pt x="373380" y="293129"/>
                  <a:pt x="394144" y="313796"/>
                  <a:pt x="419576" y="313796"/>
                </a:cubicBezTo>
                <a:cubicBezTo>
                  <a:pt x="445008" y="313796"/>
                  <a:pt x="465772" y="293129"/>
                  <a:pt x="465772" y="267817"/>
                </a:cubicBezTo>
                <a:cubicBezTo>
                  <a:pt x="465772" y="242505"/>
                  <a:pt x="445008" y="221838"/>
                  <a:pt x="419576" y="221838"/>
                </a:cubicBezTo>
                <a:close/>
                <a:moveTo>
                  <a:pt x="737711" y="198137"/>
                </a:moveTo>
                <a:cubicBezTo>
                  <a:pt x="776287" y="198137"/>
                  <a:pt x="807720" y="229422"/>
                  <a:pt x="807720" y="267817"/>
                </a:cubicBezTo>
                <a:cubicBezTo>
                  <a:pt x="807720" y="306212"/>
                  <a:pt x="776287" y="337497"/>
                  <a:pt x="737711" y="337497"/>
                </a:cubicBezTo>
                <a:cubicBezTo>
                  <a:pt x="699135" y="337497"/>
                  <a:pt x="667702" y="306212"/>
                  <a:pt x="667702" y="267817"/>
                </a:cubicBezTo>
                <a:cubicBezTo>
                  <a:pt x="667702" y="229422"/>
                  <a:pt x="699135" y="198137"/>
                  <a:pt x="737711" y="198137"/>
                </a:cubicBezTo>
                <a:close/>
                <a:moveTo>
                  <a:pt x="419576" y="198137"/>
                </a:moveTo>
                <a:cubicBezTo>
                  <a:pt x="458152" y="198137"/>
                  <a:pt x="489585" y="229422"/>
                  <a:pt x="489585" y="267817"/>
                </a:cubicBezTo>
                <a:cubicBezTo>
                  <a:pt x="489585" y="306212"/>
                  <a:pt x="458152" y="337497"/>
                  <a:pt x="419576" y="337497"/>
                </a:cubicBezTo>
                <a:cubicBezTo>
                  <a:pt x="380999" y="337497"/>
                  <a:pt x="349567" y="306212"/>
                  <a:pt x="349567" y="267817"/>
                </a:cubicBezTo>
                <a:cubicBezTo>
                  <a:pt x="349567" y="229422"/>
                  <a:pt x="380999" y="198137"/>
                  <a:pt x="419576" y="198137"/>
                </a:cubicBezTo>
                <a:close/>
                <a:moveTo>
                  <a:pt x="1070133" y="186572"/>
                </a:moveTo>
                <a:lnTo>
                  <a:pt x="1070133" y="488518"/>
                </a:lnTo>
                <a:lnTo>
                  <a:pt x="1091469" y="488518"/>
                </a:lnTo>
                <a:lnTo>
                  <a:pt x="1091469" y="488519"/>
                </a:lnTo>
                <a:lnTo>
                  <a:pt x="1158716" y="488519"/>
                </a:lnTo>
                <a:lnTo>
                  <a:pt x="1158716" y="186572"/>
                </a:lnTo>
                <a:cubicBezTo>
                  <a:pt x="1158716" y="186572"/>
                  <a:pt x="1102191" y="186572"/>
                  <a:pt x="1073929" y="186572"/>
                </a:cubicBezTo>
                <a:close/>
                <a:moveTo>
                  <a:pt x="23813" y="186477"/>
                </a:moveTo>
                <a:lnTo>
                  <a:pt x="23813" y="488424"/>
                </a:lnTo>
                <a:cubicBezTo>
                  <a:pt x="23813" y="488424"/>
                  <a:pt x="80337" y="488424"/>
                  <a:pt x="108600" y="488424"/>
                </a:cubicBezTo>
                <a:lnTo>
                  <a:pt x="110013" y="488424"/>
                </a:lnTo>
                <a:lnTo>
                  <a:pt x="110013" y="186477"/>
                </a:lnTo>
                <a:lnTo>
                  <a:pt x="91059" y="186477"/>
                </a:lnTo>
                <a:close/>
                <a:moveTo>
                  <a:pt x="140969" y="23701"/>
                </a:moveTo>
                <a:cubicBezTo>
                  <a:pt x="137064" y="23701"/>
                  <a:pt x="133826" y="26924"/>
                  <a:pt x="133826" y="30811"/>
                </a:cubicBezTo>
                <a:lnTo>
                  <a:pt x="133826" y="644185"/>
                </a:lnTo>
                <a:cubicBezTo>
                  <a:pt x="133826" y="648072"/>
                  <a:pt x="137064" y="651295"/>
                  <a:pt x="140969" y="651295"/>
                </a:cubicBezTo>
                <a:lnTo>
                  <a:pt x="282416" y="651295"/>
                </a:lnTo>
                <a:lnTo>
                  <a:pt x="846772" y="651295"/>
                </a:lnTo>
                <a:lnTo>
                  <a:pt x="1039177" y="651295"/>
                </a:lnTo>
                <a:cubicBezTo>
                  <a:pt x="1043082" y="651295"/>
                  <a:pt x="1046321" y="648072"/>
                  <a:pt x="1046321" y="644185"/>
                </a:cubicBezTo>
                <a:lnTo>
                  <a:pt x="1046321" y="30811"/>
                </a:lnTo>
                <a:cubicBezTo>
                  <a:pt x="1046321" y="26924"/>
                  <a:pt x="1043082" y="23701"/>
                  <a:pt x="1039177" y="23701"/>
                </a:cubicBezTo>
                <a:lnTo>
                  <a:pt x="846772" y="23701"/>
                </a:lnTo>
                <a:close/>
                <a:moveTo>
                  <a:pt x="140969" y="0"/>
                </a:moveTo>
                <a:lnTo>
                  <a:pt x="846772" y="0"/>
                </a:lnTo>
                <a:lnTo>
                  <a:pt x="1039177" y="0"/>
                </a:lnTo>
                <a:cubicBezTo>
                  <a:pt x="1056227" y="0"/>
                  <a:pt x="1070133" y="13841"/>
                  <a:pt x="1070133" y="30811"/>
                </a:cubicBezTo>
                <a:lnTo>
                  <a:pt x="1070133" y="162871"/>
                </a:lnTo>
                <a:lnTo>
                  <a:pt x="1163478" y="162871"/>
                </a:lnTo>
                <a:cubicBezTo>
                  <a:pt x="1174146" y="162871"/>
                  <a:pt x="1182528" y="172256"/>
                  <a:pt x="1182528" y="184202"/>
                </a:cubicBezTo>
                <a:lnTo>
                  <a:pt x="1182528" y="490889"/>
                </a:lnTo>
                <a:cubicBezTo>
                  <a:pt x="1182528" y="502834"/>
                  <a:pt x="1174146" y="512219"/>
                  <a:pt x="1163478" y="512219"/>
                </a:cubicBezTo>
                <a:lnTo>
                  <a:pt x="1091469" y="512219"/>
                </a:lnTo>
                <a:lnTo>
                  <a:pt x="1070133" y="512219"/>
                </a:lnTo>
                <a:lnTo>
                  <a:pt x="1070133" y="644185"/>
                </a:lnTo>
                <a:cubicBezTo>
                  <a:pt x="1070133" y="661155"/>
                  <a:pt x="1056227" y="674996"/>
                  <a:pt x="1039177" y="674996"/>
                </a:cubicBezTo>
                <a:lnTo>
                  <a:pt x="846772" y="674996"/>
                </a:lnTo>
                <a:lnTo>
                  <a:pt x="282416" y="674996"/>
                </a:lnTo>
                <a:lnTo>
                  <a:pt x="140969" y="674996"/>
                </a:lnTo>
                <a:cubicBezTo>
                  <a:pt x="123920" y="674996"/>
                  <a:pt x="110013" y="661155"/>
                  <a:pt x="110013" y="644185"/>
                </a:cubicBezTo>
                <a:lnTo>
                  <a:pt x="110013" y="512219"/>
                </a:lnTo>
                <a:lnTo>
                  <a:pt x="19050" y="512219"/>
                </a:lnTo>
                <a:cubicBezTo>
                  <a:pt x="8382" y="512219"/>
                  <a:pt x="0" y="502834"/>
                  <a:pt x="0" y="490889"/>
                </a:cubicBezTo>
                <a:lnTo>
                  <a:pt x="0" y="184107"/>
                </a:lnTo>
                <a:cubicBezTo>
                  <a:pt x="0" y="172161"/>
                  <a:pt x="8382" y="162776"/>
                  <a:pt x="19050" y="162776"/>
                </a:cubicBezTo>
                <a:lnTo>
                  <a:pt x="91059" y="162776"/>
                </a:lnTo>
                <a:lnTo>
                  <a:pt x="110013" y="162776"/>
                </a:lnTo>
                <a:lnTo>
                  <a:pt x="110013" y="30811"/>
                </a:lnTo>
                <a:cubicBezTo>
                  <a:pt x="110013" y="13841"/>
                  <a:pt x="123920" y="0"/>
                  <a:pt x="140969" y="0"/>
                </a:cubicBezTo>
                <a:close/>
              </a:path>
            </a:pathLst>
          </a:custGeom>
          <a:gradFill>
            <a:gsLst>
              <a:gs pos="0">
                <a:srgbClr val="FF794C"/>
              </a:gs>
              <a:gs pos="100000">
                <a:srgbClr val="A435FD"/>
              </a:gs>
              <a:gs pos="33000">
                <a:srgbClr val="FE5A85"/>
              </a:gs>
              <a:gs pos="70000">
                <a:srgbClr val="EC1AEC"/>
              </a:gs>
            </a:gsLst>
            <a:lin ang="2700000" scaled="0"/>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chemeClr val="lt1"/>
              </a:solidFill>
              <a:latin typeface="Amazon Ember Mono" panose="020B0509020204020204" pitchFamily="49" charset="0"/>
              <a:ea typeface="Amazon Ember Mono" panose="020B0509020204020204" pitchFamily="49" charset="0"/>
              <a:cs typeface="Amazon Ember Mono" panose="020B0509020204020204" pitchFamily="49" charset="0"/>
            </a:endParaRPr>
          </a:p>
        </p:txBody>
      </p:sp>
    </p:spTree>
    <p:extLst>
      <p:ext uri="{BB962C8B-B14F-4D97-AF65-F5344CB8AC3E}">
        <p14:creationId xmlns:p14="http://schemas.microsoft.com/office/powerpoint/2010/main" val="2934631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1000" fill="hold"/>
                                        <p:tgtEl>
                                          <p:spTgt spid="4"/>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par>
                                <p:cTn id="13" presetID="42" presetClass="path" presetSubtype="0" decel="100000" fill="hold" grpId="1" nodeType="withEffect">
                                  <p:stCondLst>
                                    <p:cond delay="0"/>
                                  </p:stCondLst>
                                  <p:childTnLst>
                                    <p:animMotion origin="layout" path="M 1.25E-6 0.03889 L 1.25E-6 1.85185E-6 " pathEditMode="relative" rAng="0" ptsTypes="AA">
                                      <p:cBhvr>
                                        <p:cTn id="14" dur="1000" fill="hold"/>
                                        <p:tgtEl>
                                          <p:spTgt spid="5"/>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42" presetClass="path" presetSubtype="0" decel="100000" fill="hold" grpId="1" nodeType="withEffect">
                                  <p:stCondLst>
                                    <p:cond delay="0"/>
                                  </p:stCondLst>
                                  <p:childTnLst>
                                    <p:animMotion origin="layout" path="M -0.01719 -0.00023 L -1.25E-6 1.85185E-6 " pathEditMode="relative" rAng="0" ptsTypes="AA">
                                      <p:cBhvr>
                                        <p:cTn id="19" dur="75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6" grpId="0" animBg="1"/>
      <p:bldP spid="6"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90E65-626C-52B4-05F1-55CED13533D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1ACA6EB-FC43-6051-1192-5C117386AA6D}"/>
              </a:ext>
            </a:extLst>
          </p:cNvPr>
          <p:cNvSpPr txBox="1"/>
          <p:nvPr/>
        </p:nvSpPr>
        <p:spPr>
          <a:xfrm>
            <a:off x="1664440" y="2374679"/>
            <a:ext cx="2231408" cy="52322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Generative AI</a:t>
            </a:r>
            <a:endParaRPr kumimoji="0" lang="en-US" sz="2800" b="0" i="0" u="none" strike="noStrike" kern="1200" cap="none" spc="0" normalizeH="0" baseline="0" noProof="0" dirty="0">
              <a:ln>
                <a:noFill/>
              </a:ln>
              <a:solidFill>
                <a:srgbClr val="FFFFFF"/>
              </a:solidFill>
              <a:effectLst/>
              <a:uLnTx/>
              <a:uFillTx/>
              <a:latin typeface="Amazon Ember Heavy" panose="020B0803020204020204" pitchFamily="34" charset="0"/>
              <a:ea typeface="Amazon Ember Heavy" panose="020B0803020204020204" pitchFamily="34" charset="0"/>
              <a:cs typeface="Amazon Ember Heavy" panose="020B0803020204020204" pitchFamily="34" charset="0"/>
            </a:endParaRPr>
          </a:p>
        </p:txBody>
      </p:sp>
      <p:sp>
        <p:nvSpPr>
          <p:cNvPr id="6" name="TextBox 5">
            <a:extLst>
              <a:ext uri="{FF2B5EF4-FFF2-40B4-BE49-F238E27FC236}">
                <a16:creationId xmlns:a16="http://schemas.microsoft.com/office/drawing/2014/main" id="{BA790BE4-F97A-1D5B-1EA5-B1D94A0F98E4}"/>
              </a:ext>
            </a:extLst>
          </p:cNvPr>
          <p:cNvSpPr txBox="1"/>
          <p:nvPr/>
        </p:nvSpPr>
        <p:spPr>
          <a:xfrm>
            <a:off x="8546251" y="2386920"/>
            <a:ext cx="1842053" cy="95410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gentic AI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err="1">
              <a:ln>
                <a:noFill/>
              </a:ln>
              <a:solidFill>
                <a:srgbClr val="FFFFFF"/>
              </a:solidFill>
              <a:effectLst/>
              <a:uLnTx/>
              <a:uFillTx/>
              <a:latin typeface="Amazon Ember Heavy" panose="020B0803020204020204" pitchFamily="34" charset="0"/>
              <a:ea typeface="Amazon Ember Heavy" panose="020B0803020204020204" pitchFamily="34" charset="0"/>
              <a:cs typeface="Amazon Ember Heavy" panose="020B0803020204020204" pitchFamily="34" charset="0"/>
            </a:endParaRPr>
          </a:p>
        </p:txBody>
      </p:sp>
      <p:sp>
        <p:nvSpPr>
          <p:cNvPr id="8" name="TextBox 7">
            <a:extLst>
              <a:ext uri="{FF2B5EF4-FFF2-40B4-BE49-F238E27FC236}">
                <a16:creationId xmlns:a16="http://schemas.microsoft.com/office/drawing/2014/main" id="{7DD38524-FFBD-64FF-38A4-22BD88EBB73C}"/>
              </a:ext>
            </a:extLst>
          </p:cNvPr>
          <p:cNvSpPr txBox="1"/>
          <p:nvPr/>
        </p:nvSpPr>
        <p:spPr>
          <a:xfrm>
            <a:off x="720436" y="3592588"/>
            <a:ext cx="5024582" cy="2391104"/>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A6356">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rimary purpose: </a:t>
            </a:r>
            <a:r>
              <a:rPr kumimoji="0" lang="en-US" sz="20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Content generation   </a:t>
            </a:r>
          </a:p>
          <a:p>
            <a:pPr marL="0" marR="0" lvl="0" indent="0" algn="l" defTabSz="914400" rtl="0" eaLnBrk="1" fontAlgn="auto" latinLnBrk="0" hangingPunct="1">
              <a:lnSpc>
                <a:spcPct val="150000"/>
              </a:lnSpc>
              <a:spcBef>
                <a:spcPts val="0"/>
              </a:spcBef>
              <a:spcAft>
                <a:spcPts val="0"/>
              </a:spcAft>
              <a:buClrTx/>
              <a:buSzTx/>
              <a:buFontTx/>
              <a:buNone/>
              <a:tabLst/>
              <a:defRPr/>
            </a:pPr>
            <a:br>
              <a:rPr kumimoji="0" lang="en-US" sz="1600" b="0" i="0" u="none" strike="noStrike" kern="1200" cap="none" spc="0" normalizeH="0" baseline="0" noProof="0" dirty="0">
                <a:ln>
                  <a:noFill/>
                </a:ln>
                <a:solidFill>
                  <a:srgbClr val="FA6356">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br>
            <a:r>
              <a:rPr kumimoji="0" lang="en-US" sz="1400" b="0" i="0" u="none" strike="noStrike" kern="1200" cap="none" spc="0" normalizeH="0" baseline="0" noProof="0" dirty="0">
                <a:ln>
                  <a:noFill/>
                </a:ln>
                <a:solidFill>
                  <a:srgbClr val="FA6356">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Dependency: </a:t>
            </a:r>
            <a:r>
              <a:rPr kumimoji="0" lang="en-US" sz="1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rompts and input dat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A6356">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gency level: </a:t>
            </a:r>
            <a:r>
              <a:rPr kumimoji="0" lang="en-US" sz="1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Lower (requires more human oversigh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A6356">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bility to execute workflows: </a:t>
            </a:r>
            <a:r>
              <a:rPr kumimoji="0" lang="en-US" sz="1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None / low</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p:txBody>
      </p:sp>
      <p:sp>
        <p:nvSpPr>
          <p:cNvPr id="9" name="TextBox 8">
            <a:extLst>
              <a:ext uri="{FF2B5EF4-FFF2-40B4-BE49-F238E27FC236}">
                <a16:creationId xmlns:a16="http://schemas.microsoft.com/office/drawing/2014/main" id="{DA3C4E3F-29D4-8CFE-23D6-AB0B5F935836}"/>
              </a:ext>
            </a:extLst>
          </p:cNvPr>
          <p:cNvSpPr txBox="1"/>
          <p:nvPr/>
        </p:nvSpPr>
        <p:spPr>
          <a:xfrm>
            <a:off x="7530985" y="3586335"/>
            <a:ext cx="4494760" cy="2594365"/>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rimary purpose: </a:t>
            </a:r>
            <a:r>
              <a:rPr kumimoji="0" lang="en-US" sz="20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Goal achievement</a:t>
            </a:r>
          </a:p>
          <a:p>
            <a:pPr marL="0" marR="0" lvl="0" indent="0" algn="l" defTabSz="914400" rtl="0" eaLnBrk="1" fontAlgn="auto" latinLnBrk="0" hangingPunct="1">
              <a:lnSpc>
                <a:spcPct val="150000"/>
              </a:lnSpc>
              <a:spcBef>
                <a:spcPts val="0"/>
              </a:spcBef>
              <a:spcAft>
                <a:spcPts val="0"/>
              </a:spcAft>
              <a:buClrTx/>
              <a:buSzTx/>
              <a:buFontTx/>
              <a:buNone/>
              <a:tabLst/>
              <a:defRPr/>
            </a:pPr>
            <a:br>
              <a:rPr kumimoji="0" lang="en-US" sz="16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br>
            <a:r>
              <a:rPr kumimoji="0" lang="en-US" sz="14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Dependency: </a:t>
            </a:r>
            <a:r>
              <a:rPr kumimoji="0" lang="en-US" sz="1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rescribed tasks and tool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gency level: </a:t>
            </a:r>
            <a:r>
              <a:rPr kumimoji="0" lang="en-US" sz="1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Higher (often less human oversigh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bility to execute workflows: </a:t>
            </a:r>
            <a:r>
              <a:rPr kumimoji="0" lang="en-US" sz="1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Medium / high</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p:txBody>
      </p:sp>
      <p:sp>
        <p:nvSpPr>
          <p:cNvPr id="10" name="Arrow: Right 9">
            <a:extLst>
              <a:ext uri="{FF2B5EF4-FFF2-40B4-BE49-F238E27FC236}">
                <a16:creationId xmlns:a16="http://schemas.microsoft.com/office/drawing/2014/main" id="{45459ACA-6026-5433-59CA-E4FE4ADA0CCA}"/>
              </a:ext>
            </a:extLst>
          </p:cNvPr>
          <p:cNvSpPr/>
          <p:nvPr/>
        </p:nvSpPr>
        <p:spPr>
          <a:xfrm>
            <a:off x="720436" y="3336640"/>
            <a:ext cx="10751128" cy="45719"/>
          </a:xfrm>
          <a:prstGeom prst="rightArrow">
            <a:avLst/>
          </a:prstGeom>
          <a:gradFill flip="none" rotWithShape="1">
            <a:gsLst>
              <a:gs pos="0">
                <a:srgbClr val="FF794C"/>
              </a:gs>
              <a:gs pos="100000">
                <a:srgbClr val="A435FD"/>
              </a:gs>
              <a:gs pos="33000">
                <a:srgbClr val="FE5A85"/>
              </a:gs>
              <a:gs pos="70000">
                <a:srgbClr val="EC1AEC"/>
              </a:gs>
            </a:gsLst>
            <a:lin ang="0" scaled="1"/>
            <a:tileRect/>
          </a:gra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endParaRPr>
          </a:p>
        </p:txBody>
      </p:sp>
      <p:sp>
        <p:nvSpPr>
          <p:cNvPr id="12" name="Oval 11">
            <a:extLst>
              <a:ext uri="{FF2B5EF4-FFF2-40B4-BE49-F238E27FC236}">
                <a16:creationId xmlns:a16="http://schemas.microsoft.com/office/drawing/2014/main" id="{70C4958B-1603-78EC-407E-8798EFAAE95E}"/>
              </a:ext>
            </a:extLst>
          </p:cNvPr>
          <p:cNvSpPr/>
          <p:nvPr/>
        </p:nvSpPr>
        <p:spPr>
          <a:xfrm>
            <a:off x="2684685" y="3264623"/>
            <a:ext cx="190919" cy="190918"/>
          </a:xfrm>
          <a:prstGeom prst="ellipse">
            <a:avLst/>
          </a:prstGeom>
          <a:solidFill>
            <a:srgbClr val="C1457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mazon Ember Display"/>
              <a:ea typeface="+mn-ea"/>
              <a:cs typeface="+mn-cs"/>
            </a:endParaRPr>
          </a:p>
        </p:txBody>
      </p:sp>
      <p:sp>
        <p:nvSpPr>
          <p:cNvPr id="13" name="Oval 12">
            <a:extLst>
              <a:ext uri="{FF2B5EF4-FFF2-40B4-BE49-F238E27FC236}">
                <a16:creationId xmlns:a16="http://schemas.microsoft.com/office/drawing/2014/main" id="{BAB7F6E6-FB01-8CB4-C927-0588B318C167}"/>
              </a:ext>
            </a:extLst>
          </p:cNvPr>
          <p:cNvSpPr/>
          <p:nvPr/>
        </p:nvSpPr>
        <p:spPr>
          <a:xfrm>
            <a:off x="9316396" y="3264623"/>
            <a:ext cx="190919" cy="190918"/>
          </a:xfrm>
          <a:prstGeom prst="ellipse">
            <a:avLst/>
          </a:prstGeom>
          <a:solidFill>
            <a:srgbClr val="A435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mazon Ember Display"/>
              <a:ea typeface="+mn-ea"/>
              <a:cs typeface="+mn-cs"/>
            </a:endParaRPr>
          </a:p>
        </p:txBody>
      </p:sp>
      <p:sp>
        <p:nvSpPr>
          <p:cNvPr id="2" name="Text Placeholder 3">
            <a:extLst>
              <a:ext uri="{FF2B5EF4-FFF2-40B4-BE49-F238E27FC236}">
                <a16:creationId xmlns:a16="http://schemas.microsoft.com/office/drawing/2014/main" id="{CBE69710-A10D-51F6-69A0-7D9CA1B90AE8}"/>
              </a:ext>
            </a:extLst>
          </p:cNvPr>
          <p:cNvSpPr txBox="1">
            <a:spLocks/>
          </p:cNvSpPr>
          <p:nvPr/>
        </p:nvSpPr>
        <p:spPr>
          <a:xfrm>
            <a:off x="795103" y="528209"/>
            <a:ext cx="10601793" cy="1656864"/>
          </a:xfrm>
          <a:prstGeom prst="rect">
            <a:avLst/>
          </a:prstGeom>
        </p:spPr>
        <p:txBody>
          <a:bodyPr wrap="square" anchor="ctr">
            <a:spAutoFit/>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marR="0" lvl="0" indent="0" algn="ctr" defTabSz="541873" rtl="0" eaLnBrk="1" fontAlgn="auto" latinLnBrk="0" hangingPunct="1">
              <a:lnSpc>
                <a:spcPct val="90000"/>
              </a:lnSpc>
              <a:spcBef>
                <a:spcPts val="0"/>
              </a:spcBef>
              <a:spcAft>
                <a:spcPts val="711"/>
              </a:spcAft>
              <a:buClr>
                <a:srgbClr val="FFFFFF"/>
              </a:buClr>
              <a:buSzPct val="90000"/>
              <a:buFont typeface="Amazon Ember Display" panose="020F0603020204020204" pitchFamily="34" charset="0"/>
              <a:buNone/>
              <a:tabLst/>
              <a:defRPr/>
            </a:pPr>
            <a:r>
              <a:rPr kumimoji="0" lang="en-US" sz="44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What’s the difference?</a:t>
            </a:r>
          </a:p>
          <a:p>
            <a:pPr marL="0" marR="0" lvl="0" indent="0" algn="ctr" defTabSz="541873" rtl="0" eaLnBrk="1" fontAlgn="auto" latinLnBrk="0" hangingPunct="1">
              <a:lnSpc>
                <a:spcPct val="90000"/>
              </a:lnSpc>
              <a:spcBef>
                <a:spcPts val="0"/>
              </a:spcBef>
              <a:spcAft>
                <a:spcPts val="711"/>
              </a:spcAft>
              <a:buClr>
                <a:srgbClr val="FFFFFF"/>
              </a:buClr>
              <a:buSzPct val="90000"/>
              <a:buFont typeface="Amazon Ember Display" panose="020F0603020204020204" pitchFamily="34" charset="0"/>
              <a:buNone/>
              <a:tabLst/>
              <a:defRPr/>
            </a:pPr>
            <a:r>
              <a:rPr kumimoji="0" lang="en-US" sz="28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Complimentary </a:t>
            </a:r>
            <a:r>
              <a:rPr lang="en-US" dirty="0">
                <a:solidFill>
                  <a:srgbClr val="9D51FF">
                    <a:lumMod val="40000"/>
                    <a:lumOff val="60000"/>
                  </a:srgbClr>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technologies</a:t>
            </a:r>
            <a:endParaRPr kumimoji="0" lang="en-US" sz="2800" b="0" i="0" u="none" strike="noStrike" kern="1200" cap="none" spc="0" normalizeH="0" baseline="0" noProof="0" dirty="0">
              <a:ln>
                <a:noFill/>
              </a:ln>
              <a:solidFill>
                <a:srgbClr val="9D51FF">
                  <a:lumMod val="40000"/>
                  <a:lumOff val="60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a:p>
            <a:pPr marL="0" marR="0" lvl="0" indent="0" algn="ctr" defTabSz="541873" rtl="0" eaLnBrk="1" fontAlgn="auto" latinLnBrk="0" hangingPunct="1">
              <a:lnSpc>
                <a:spcPct val="90000"/>
              </a:lnSpc>
              <a:spcBef>
                <a:spcPts val="0"/>
              </a:spcBef>
              <a:spcAft>
                <a:spcPts val="711"/>
              </a:spcAft>
              <a:buClr>
                <a:srgbClr val="FFFFFF"/>
              </a:buClr>
              <a:buSzPct val="90000"/>
              <a:buFont typeface="Amazon Ember Display" panose="020F0603020204020204" pitchFamily="34" charset="0"/>
              <a:buNone/>
              <a:tabLst/>
              <a:defRPr/>
            </a:pPr>
            <a:r>
              <a:rPr kumimoji="0" lang="en-US" sz="2800" b="0" i="0" u="none" strike="noStrike" kern="1200" cap="none" spc="0" normalizeH="0" baseline="0" noProof="0" dirty="0">
                <a:ln>
                  <a:noFill/>
                </a:ln>
                <a:solidFill>
                  <a:srgbClr val="232F3E">
                    <a:lumMod val="25000"/>
                    <a:lumOff val="75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 </a:t>
            </a:r>
            <a:endParaRPr kumimoji="0" lang="en-US" sz="3200" b="0" i="1" u="none" strike="noStrike" kern="1200" cap="none" spc="0" normalizeH="0" baseline="0" noProof="0" dirty="0">
              <a:ln>
                <a:noFill/>
              </a:ln>
              <a:solidFill>
                <a:srgbClr val="232F3E">
                  <a:lumMod val="25000"/>
                  <a:lumOff val="75000"/>
                </a:srgbClr>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p:txBody>
      </p:sp>
    </p:spTree>
    <p:extLst>
      <p:ext uri="{BB962C8B-B14F-4D97-AF65-F5344CB8AC3E}">
        <p14:creationId xmlns:p14="http://schemas.microsoft.com/office/powerpoint/2010/main" val="131705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708D8-2F21-BE41-D6CB-2AA6111EBDB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3CDAD45-FC82-8510-E0A0-AE17CBD7C0AA}"/>
              </a:ext>
            </a:extLst>
          </p:cNvPr>
          <p:cNvSpPr>
            <a:spLocks noGrp="1"/>
          </p:cNvSpPr>
          <p:nvPr>
            <p:ph type="sldNum" sz="quarter" idx="12"/>
          </p:nvPr>
        </p:nvSpPr>
        <p:spPr>
          <a:xfrm>
            <a:off x="8610600" y="6965950"/>
            <a:ext cx="2743200" cy="365125"/>
          </a:xfrm>
        </p:spPr>
        <p:txBody>
          <a:bodyPr/>
          <a:lstStyle/>
          <a:p>
            <a:fld id="{DC503246-BBCE-4F0A-BCDC-08FC4C52637D}" type="slidenum">
              <a:rPr lang="en-US" smtClean="0"/>
              <a:pPr/>
              <a:t>4</a:t>
            </a:fld>
            <a:endParaRPr lang="en-US"/>
          </a:p>
        </p:txBody>
      </p:sp>
      <p:sp>
        <p:nvSpPr>
          <p:cNvPr id="8" name="Frame 7">
            <a:extLst>
              <a:ext uri="{FF2B5EF4-FFF2-40B4-BE49-F238E27FC236}">
                <a16:creationId xmlns:a16="http://schemas.microsoft.com/office/drawing/2014/main" id="{F5619488-0BEC-125A-4D42-1F6C00C42777}"/>
              </a:ext>
            </a:extLst>
          </p:cNvPr>
          <p:cNvSpPr/>
          <p:nvPr/>
        </p:nvSpPr>
        <p:spPr>
          <a:xfrm>
            <a:off x="9202152" y="2616081"/>
            <a:ext cx="2336132" cy="1544053"/>
          </a:xfrm>
          <a:prstGeom prst="frame">
            <a:avLst>
              <a:gd name="adj1" fmla="val 2370"/>
            </a:avLst>
          </a:prstGeom>
          <a:solidFill>
            <a:schemeClr val="tx1"/>
          </a:soli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5">
                    <a:lumMod val="40000"/>
                    <a:lumOff val="60000"/>
                  </a:schemeClr>
                </a:solidFill>
              </a:rPr>
              <a:t>Complex Goal</a:t>
            </a:r>
          </a:p>
          <a:p>
            <a:pPr algn="ctr"/>
            <a:br>
              <a:rPr lang="en-US" sz="1200" dirty="0">
                <a:solidFill>
                  <a:schemeClr val="tx1"/>
                </a:solidFill>
              </a:rPr>
            </a:br>
            <a:r>
              <a:rPr lang="en-US" sz="1200" dirty="0">
                <a:solidFill>
                  <a:schemeClr val="tx1"/>
                </a:solidFill>
              </a:rPr>
              <a:t>an intended “job” to be done,</a:t>
            </a:r>
            <a:br>
              <a:rPr lang="en-US" sz="1200" dirty="0">
                <a:solidFill>
                  <a:schemeClr val="tx1"/>
                </a:solidFill>
              </a:rPr>
            </a:br>
            <a:r>
              <a:rPr lang="en-US" sz="1200" dirty="0">
                <a:solidFill>
                  <a:schemeClr val="tx1"/>
                </a:solidFill>
              </a:rPr>
              <a:t>or a “task” to accomplish</a:t>
            </a:r>
            <a:endParaRPr lang="en-US" dirty="0">
              <a:solidFill>
                <a:schemeClr val="tx1"/>
              </a:solidFill>
            </a:endParaRPr>
          </a:p>
        </p:txBody>
      </p:sp>
      <p:sp>
        <p:nvSpPr>
          <p:cNvPr id="11" name="TextBox 10">
            <a:extLst>
              <a:ext uri="{FF2B5EF4-FFF2-40B4-BE49-F238E27FC236}">
                <a16:creationId xmlns:a16="http://schemas.microsoft.com/office/drawing/2014/main" id="{3C56B6D2-C527-118C-15A1-BEE0D3C128BF}"/>
              </a:ext>
            </a:extLst>
          </p:cNvPr>
          <p:cNvSpPr txBox="1"/>
          <p:nvPr/>
        </p:nvSpPr>
        <p:spPr>
          <a:xfrm>
            <a:off x="2338527" y="2616081"/>
            <a:ext cx="5979201" cy="2185214"/>
          </a:xfrm>
          <a:prstGeom prst="rect">
            <a:avLst/>
          </a:prstGeom>
          <a:noFill/>
        </p:spPr>
        <p:txBody>
          <a:bodyPr wrap="none" lIns="0" rIns="0" rtlCol="0">
            <a:spAutoFit/>
          </a:bodyPr>
          <a:lstStyle/>
          <a:p>
            <a:pPr marL="285750" indent="-285750">
              <a:buFont typeface="Arial" panose="020B0604020202020204" pitchFamily="34" charset="0"/>
              <a:buChar char="•"/>
            </a:pPr>
            <a:r>
              <a:rPr lang="en-US" sz="2000" dirty="0"/>
              <a:t>Knowledge/memory from multiple data sources</a:t>
            </a:r>
          </a:p>
          <a:p>
            <a:pPr marL="285750" indent="-285750">
              <a:buFont typeface="Arial" panose="020B0604020202020204" pitchFamily="34" charset="0"/>
              <a:buChar char="•"/>
            </a:pPr>
            <a:r>
              <a:rPr lang="en-US" sz="2000" dirty="0"/>
              <a:t>Interaction with tools and environments</a:t>
            </a:r>
          </a:p>
          <a:p>
            <a:pPr marL="285750" indent="-285750">
              <a:buFont typeface="Arial" panose="020B0604020202020204" pitchFamily="34" charset="0"/>
              <a:buChar char="•"/>
            </a:pPr>
            <a:r>
              <a:rPr lang="en-US" sz="2000" dirty="0"/>
              <a:t>Levels of autonomy within workflows</a:t>
            </a:r>
          </a:p>
          <a:p>
            <a:pPr marL="285750" indent="-285750">
              <a:buFont typeface="Arial" panose="020B0604020202020204" pitchFamily="34" charset="0"/>
              <a:buChar char="•"/>
            </a:pPr>
            <a:r>
              <a:rPr lang="en-US" sz="2000" dirty="0"/>
              <a:t>Capacity to make decisions and choices</a:t>
            </a:r>
          </a:p>
          <a:p>
            <a:pPr marL="285750" indent="-285750">
              <a:buFont typeface="Arial" panose="020B0604020202020204" pitchFamily="34" charset="0"/>
              <a:buChar char="•"/>
            </a:pPr>
            <a:r>
              <a:rPr lang="en-US" sz="2000" dirty="0"/>
              <a:t>Power to reason, plan, reflect, and act on choic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err="1"/>
          </a:p>
        </p:txBody>
      </p:sp>
      <p:sp>
        <p:nvSpPr>
          <p:cNvPr id="13" name="Title 12">
            <a:extLst>
              <a:ext uri="{FF2B5EF4-FFF2-40B4-BE49-F238E27FC236}">
                <a16:creationId xmlns:a16="http://schemas.microsoft.com/office/drawing/2014/main" id="{6694E1B3-4967-C34E-79CA-8AF79D4457E0}"/>
              </a:ext>
            </a:extLst>
          </p:cNvPr>
          <p:cNvSpPr txBox="1">
            <a:spLocks/>
          </p:cNvSpPr>
          <p:nvPr/>
        </p:nvSpPr>
        <p:spPr>
          <a:xfrm>
            <a:off x="775510" y="547711"/>
            <a:ext cx="10467074" cy="1604879"/>
          </a:xfrm>
          <a:prstGeom prst="rect">
            <a:avLst/>
          </a:prstGeom>
        </p:spPr>
        <p:txBody>
          <a:bodyPr/>
          <a:lst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mazon Ember Display"/>
                <a:ea typeface="+mj-ea"/>
                <a:cs typeface="+mj-cs"/>
              </a:rPr>
              <a:t>Understanding </a:t>
            </a:r>
            <a:r>
              <a:rPr lang="en-US" sz="4400" b="0" dirty="0">
                <a:solidFill>
                  <a:srgbClr val="FFFFFF"/>
                </a:solidFill>
                <a:latin typeface="Amazon Ember Display"/>
              </a:rPr>
              <a:t>Agentic AI</a:t>
            </a:r>
            <a:endParaRPr kumimoji="0" lang="en-US" sz="1100" b="0" i="0" u="none" strike="noStrike" kern="1200" cap="none" spc="0" normalizeH="0" baseline="0" noProof="0" dirty="0">
              <a:ln>
                <a:noFill/>
              </a:ln>
              <a:solidFill>
                <a:srgbClr val="FFFFFF"/>
              </a:solidFill>
              <a:effectLst/>
              <a:uLnTx/>
              <a:uFillTx/>
              <a:latin typeface="Amazon Ember Display"/>
              <a:ea typeface="+mj-ea"/>
              <a:cs typeface="+mj-cs"/>
            </a:endParaRPr>
          </a:p>
        </p:txBody>
      </p:sp>
      <p:sp>
        <p:nvSpPr>
          <p:cNvPr id="15" name="Arrow: Chevron 14">
            <a:extLst>
              <a:ext uri="{FF2B5EF4-FFF2-40B4-BE49-F238E27FC236}">
                <a16:creationId xmlns:a16="http://schemas.microsoft.com/office/drawing/2014/main" id="{E3D440F8-1C7A-B83B-BE71-086922C94E2D}"/>
              </a:ext>
            </a:extLst>
          </p:cNvPr>
          <p:cNvSpPr/>
          <p:nvPr/>
        </p:nvSpPr>
        <p:spPr>
          <a:xfrm>
            <a:off x="8467835" y="2765866"/>
            <a:ext cx="312821" cy="1326266"/>
          </a:xfrm>
          <a:prstGeom prst="chevron">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038F8B21-0701-F885-9884-1752CE5DBC5A}"/>
              </a:ext>
            </a:extLst>
          </p:cNvPr>
          <p:cNvSpPr txBox="1"/>
          <p:nvPr/>
        </p:nvSpPr>
        <p:spPr>
          <a:xfrm>
            <a:off x="1545485" y="4932775"/>
            <a:ext cx="9240502" cy="1323439"/>
          </a:xfrm>
          <a:prstGeom prst="rect">
            <a:avLst/>
          </a:prstGeom>
          <a:noFill/>
        </p:spPr>
        <p:txBody>
          <a:bodyPr wrap="square" lIns="0" rIns="0" rtlCol="0">
            <a:spAutoFit/>
          </a:bodyPr>
          <a:lstStyle/>
          <a:p>
            <a:pPr algn="ctr"/>
            <a:r>
              <a:rPr lang="en-US" sz="2000" dirty="0"/>
              <a:t>Like humans, AI Agents can be created and instructed </a:t>
            </a:r>
            <a:r>
              <a:rPr lang="en-US" sz="2000" b="1" dirty="0">
                <a:highlight>
                  <a:srgbClr val="FA4DC8"/>
                </a:highlight>
              </a:rPr>
              <a:t>with language</a:t>
            </a:r>
            <a:r>
              <a:rPr lang="en-US" sz="2000" b="1" i="1" dirty="0"/>
              <a:t> </a:t>
            </a:r>
            <a:r>
              <a:rPr lang="en-US" sz="2000" dirty="0"/>
              <a:t>to perform tasks with various levels of problem solving autonomy.</a:t>
            </a:r>
            <a:br>
              <a:rPr lang="en-US" sz="2000" dirty="0"/>
            </a:br>
            <a:br>
              <a:rPr lang="en-US" sz="2000" dirty="0"/>
            </a:br>
            <a:endParaRPr lang="en-US" sz="2000" dirty="0"/>
          </a:p>
        </p:txBody>
      </p:sp>
      <p:sp>
        <p:nvSpPr>
          <p:cNvPr id="22" name="Freeform 8">
            <a:extLst>
              <a:ext uri="{FF2B5EF4-FFF2-40B4-BE49-F238E27FC236}">
                <a16:creationId xmlns:a16="http://schemas.microsoft.com/office/drawing/2014/main" id="{CE861178-A432-1D5A-628C-A64A6D3714C6}"/>
              </a:ext>
            </a:extLst>
          </p:cNvPr>
          <p:cNvSpPr/>
          <p:nvPr/>
        </p:nvSpPr>
        <p:spPr>
          <a:xfrm>
            <a:off x="366390" y="2925231"/>
            <a:ext cx="1644097" cy="938463"/>
          </a:xfrm>
          <a:custGeom>
            <a:avLst/>
            <a:gdLst>
              <a:gd name="connsiteX0" fmla="*/ 737711 w 1182528"/>
              <a:gd name="connsiteY0" fmla="*/ 221838 h 674996"/>
              <a:gd name="connsiteX1" fmla="*/ 691515 w 1182528"/>
              <a:gd name="connsiteY1" fmla="*/ 267817 h 674996"/>
              <a:gd name="connsiteX2" fmla="*/ 737711 w 1182528"/>
              <a:gd name="connsiteY2" fmla="*/ 313796 h 674996"/>
              <a:gd name="connsiteX3" fmla="*/ 783907 w 1182528"/>
              <a:gd name="connsiteY3" fmla="*/ 267817 h 674996"/>
              <a:gd name="connsiteX4" fmla="*/ 737711 w 1182528"/>
              <a:gd name="connsiteY4" fmla="*/ 221838 h 674996"/>
              <a:gd name="connsiteX5" fmla="*/ 419576 w 1182528"/>
              <a:gd name="connsiteY5" fmla="*/ 221838 h 674996"/>
              <a:gd name="connsiteX6" fmla="*/ 373380 w 1182528"/>
              <a:gd name="connsiteY6" fmla="*/ 267817 h 674996"/>
              <a:gd name="connsiteX7" fmla="*/ 419576 w 1182528"/>
              <a:gd name="connsiteY7" fmla="*/ 313796 h 674996"/>
              <a:gd name="connsiteX8" fmla="*/ 465772 w 1182528"/>
              <a:gd name="connsiteY8" fmla="*/ 267817 h 674996"/>
              <a:gd name="connsiteX9" fmla="*/ 419576 w 1182528"/>
              <a:gd name="connsiteY9" fmla="*/ 221838 h 674996"/>
              <a:gd name="connsiteX10" fmla="*/ 737711 w 1182528"/>
              <a:gd name="connsiteY10" fmla="*/ 198137 h 674996"/>
              <a:gd name="connsiteX11" fmla="*/ 807720 w 1182528"/>
              <a:gd name="connsiteY11" fmla="*/ 267817 h 674996"/>
              <a:gd name="connsiteX12" fmla="*/ 737711 w 1182528"/>
              <a:gd name="connsiteY12" fmla="*/ 337497 h 674996"/>
              <a:gd name="connsiteX13" fmla="*/ 667702 w 1182528"/>
              <a:gd name="connsiteY13" fmla="*/ 267817 h 674996"/>
              <a:gd name="connsiteX14" fmla="*/ 737711 w 1182528"/>
              <a:gd name="connsiteY14" fmla="*/ 198137 h 674996"/>
              <a:gd name="connsiteX15" fmla="*/ 419576 w 1182528"/>
              <a:gd name="connsiteY15" fmla="*/ 198137 h 674996"/>
              <a:gd name="connsiteX16" fmla="*/ 489585 w 1182528"/>
              <a:gd name="connsiteY16" fmla="*/ 267817 h 674996"/>
              <a:gd name="connsiteX17" fmla="*/ 419576 w 1182528"/>
              <a:gd name="connsiteY17" fmla="*/ 337497 h 674996"/>
              <a:gd name="connsiteX18" fmla="*/ 349567 w 1182528"/>
              <a:gd name="connsiteY18" fmla="*/ 267817 h 674996"/>
              <a:gd name="connsiteX19" fmla="*/ 419576 w 1182528"/>
              <a:gd name="connsiteY19" fmla="*/ 198137 h 674996"/>
              <a:gd name="connsiteX20" fmla="*/ 1070133 w 1182528"/>
              <a:gd name="connsiteY20" fmla="*/ 186572 h 674996"/>
              <a:gd name="connsiteX21" fmla="*/ 1070133 w 1182528"/>
              <a:gd name="connsiteY21" fmla="*/ 488518 h 674996"/>
              <a:gd name="connsiteX22" fmla="*/ 1091469 w 1182528"/>
              <a:gd name="connsiteY22" fmla="*/ 488518 h 674996"/>
              <a:gd name="connsiteX23" fmla="*/ 1091469 w 1182528"/>
              <a:gd name="connsiteY23" fmla="*/ 488519 h 674996"/>
              <a:gd name="connsiteX24" fmla="*/ 1158716 w 1182528"/>
              <a:gd name="connsiteY24" fmla="*/ 488519 h 674996"/>
              <a:gd name="connsiteX25" fmla="*/ 1158716 w 1182528"/>
              <a:gd name="connsiteY25" fmla="*/ 186572 h 674996"/>
              <a:gd name="connsiteX26" fmla="*/ 1073929 w 1182528"/>
              <a:gd name="connsiteY26" fmla="*/ 186572 h 674996"/>
              <a:gd name="connsiteX27" fmla="*/ 23813 w 1182528"/>
              <a:gd name="connsiteY27" fmla="*/ 186477 h 674996"/>
              <a:gd name="connsiteX28" fmla="*/ 23813 w 1182528"/>
              <a:gd name="connsiteY28" fmla="*/ 488424 h 674996"/>
              <a:gd name="connsiteX29" fmla="*/ 108600 w 1182528"/>
              <a:gd name="connsiteY29" fmla="*/ 488424 h 674996"/>
              <a:gd name="connsiteX30" fmla="*/ 110013 w 1182528"/>
              <a:gd name="connsiteY30" fmla="*/ 488424 h 674996"/>
              <a:gd name="connsiteX31" fmla="*/ 110013 w 1182528"/>
              <a:gd name="connsiteY31" fmla="*/ 186477 h 674996"/>
              <a:gd name="connsiteX32" fmla="*/ 91059 w 1182528"/>
              <a:gd name="connsiteY32" fmla="*/ 186477 h 674996"/>
              <a:gd name="connsiteX33" fmla="*/ 140969 w 1182528"/>
              <a:gd name="connsiteY33" fmla="*/ 23701 h 674996"/>
              <a:gd name="connsiteX34" fmla="*/ 133826 w 1182528"/>
              <a:gd name="connsiteY34" fmla="*/ 30811 h 674996"/>
              <a:gd name="connsiteX35" fmla="*/ 133826 w 1182528"/>
              <a:gd name="connsiteY35" fmla="*/ 644185 h 674996"/>
              <a:gd name="connsiteX36" fmla="*/ 140969 w 1182528"/>
              <a:gd name="connsiteY36" fmla="*/ 651295 h 674996"/>
              <a:gd name="connsiteX37" fmla="*/ 282416 w 1182528"/>
              <a:gd name="connsiteY37" fmla="*/ 651295 h 674996"/>
              <a:gd name="connsiteX38" fmla="*/ 846772 w 1182528"/>
              <a:gd name="connsiteY38" fmla="*/ 651295 h 674996"/>
              <a:gd name="connsiteX39" fmla="*/ 1039177 w 1182528"/>
              <a:gd name="connsiteY39" fmla="*/ 651295 h 674996"/>
              <a:gd name="connsiteX40" fmla="*/ 1046321 w 1182528"/>
              <a:gd name="connsiteY40" fmla="*/ 644185 h 674996"/>
              <a:gd name="connsiteX41" fmla="*/ 1046321 w 1182528"/>
              <a:gd name="connsiteY41" fmla="*/ 30811 h 674996"/>
              <a:gd name="connsiteX42" fmla="*/ 1039177 w 1182528"/>
              <a:gd name="connsiteY42" fmla="*/ 23701 h 674996"/>
              <a:gd name="connsiteX43" fmla="*/ 846772 w 1182528"/>
              <a:gd name="connsiteY43" fmla="*/ 23701 h 674996"/>
              <a:gd name="connsiteX44" fmla="*/ 140969 w 1182528"/>
              <a:gd name="connsiteY44" fmla="*/ 0 h 674996"/>
              <a:gd name="connsiteX45" fmla="*/ 846772 w 1182528"/>
              <a:gd name="connsiteY45" fmla="*/ 0 h 674996"/>
              <a:gd name="connsiteX46" fmla="*/ 1039177 w 1182528"/>
              <a:gd name="connsiteY46" fmla="*/ 0 h 674996"/>
              <a:gd name="connsiteX47" fmla="*/ 1070133 w 1182528"/>
              <a:gd name="connsiteY47" fmla="*/ 30811 h 674996"/>
              <a:gd name="connsiteX48" fmla="*/ 1070133 w 1182528"/>
              <a:gd name="connsiteY48" fmla="*/ 162871 h 674996"/>
              <a:gd name="connsiteX49" fmla="*/ 1163478 w 1182528"/>
              <a:gd name="connsiteY49" fmla="*/ 162871 h 674996"/>
              <a:gd name="connsiteX50" fmla="*/ 1182528 w 1182528"/>
              <a:gd name="connsiteY50" fmla="*/ 184202 h 674996"/>
              <a:gd name="connsiteX51" fmla="*/ 1182528 w 1182528"/>
              <a:gd name="connsiteY51" fmla="*/ 490889 h 674996"/>
              <a:gd name="connsiteX52" fmla="*/ 1163478 w 1182528"/>
              <a:gd name="connsiteY52" fmla="*/ 512219 h 674996"/>
              <a:gd name="connsiteX53" fmla="*/ 1091469 w 1182528"/>
              <a:gd name="connsiteY53" fmla="*/ 512219 h 674996"/>
              <a:gd name="connsiteX54" fmla="*/ 1070133 w 1182528"/>
              <a:gd name="connsiteY54" fmla="*/ 512219 h 674996"/>
              <a:gd name="connsiteX55" fmla="*/ 1070133 w 1182528"/>
              <a:gd name="connsiteY55" fmla="*/ 644185 h 674996"/>
              <a:gd name="connsiteX56" fmla="*/ 1039177 w 1182528"/>
              <a:gd name="connsiteY56" fmla="*/ 674996 h 674996"/>
              <a:gd name="connsiteX57" fmla="*/ 846772 w 1182528"/>
              <a:gd name="connsiteY57" fmla="*/ 674996 h 674996"/>
              <a:gd name="connsiteX58" fmla="*/ 282416 w 1182528"/>
              <a:gd name="connsiteY58" fmla="*/ 674996 h 674996"/>
              <a:gd name="connsiteX59" fmla="*/ 140969 w 1182528"/>
              <a:gd name="connsiteY59" fmla="*/ 674996 h 674996"/>
              <a:gd name="connsiteX60" fmla="*/ 110013 w 1182528"/>
              <a:gd name="connsiteY60" fmla="*/ 644185 h 674996"/>
              <a:gd name="connsiteX61" fmla="*/ 110013 w 1182528"/>
              <a:gd name="connsiteY61" fmla="*/ 512219 h 674996"/>
              <a:gd name="connsiteX62" fmla="*/ 19050 w 1182528"/>
              <a:gd name="connsiteY62" fmla="*/ 512219 h 674996"/>
              <a:gd name="connsiteX63" fmla="*/ 0 w 1182528"/>
              <a:gd name="connsiteY63" fmla="*/ 490889 h 674996"/>
              <a:gd name="connsiteX64" fmla="*/ 0 w 1182528"/>
              <a:gd name="connsiteY64" fmla="*/ 184107 h 674996"/>
              <a:gd name="connsiteX65" fmla="*/ 19050 w 1182528"/>
              <a:gd name="connsiteY65" fmla="*/ 162776 h 674996"/>
              <a:gd name="connsiteX66" fmla="*/ 91059 w 1182528"/>
              <a:gd name="connsiteY66" fmla="*/ 162776 h 674996"/>
              <a:gd name="connsiteX67" fmla="*/ 110013 w 1182528"/>
              <a:gd name="connsiteY67" fmla="*/ 162776 h 674996"/>
              <a:gd name="connsiteX68" fmla="*/ 110013 w 1182528"/>
              <a:gd name="connsiteY68" fmla="*/ 30811 h 674996"/>
              <a:gd name="connsiteX69" fmla="*/ 140969 w 1182528"/>
              <a:gd name="connsiteY69" fmla="*/ 0 h 67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82528" h="674996">
                <a:moveTo>
                  <a:pt x="737711" y="221838"/>
                </a:moveTo>
                <a:cubicBezTo>
                  <a:pt x="712279" y="221838"/>
                  <a:pt x="691515" y="242505"/>
                  <a:pt x="691515" y="267817"/>
                </a:cubicBezTo>
                <a:cubicBezTo>
                  <a:pt x="691515" y="293129"/>
                  <a:pt x="712279" y="313796"/>
                  <a:pt x="737711" y="313796"/>
                </a:cubicBezTo>
                <a:cubicBezTo>
                  <a:pt x="763143" y="313796"/>
                  <a:pt x="783907" y="293129"/>
                  <a:pt x="783907" y="267817"/>
                </a:cubicBezTo>
                <a:cubicBezTo>
                  <a:pt x="783907" y="242505"/>
                  <a:pt x="763143" y="221838"/>
                  <a:pt x="737711" y="221838"/>
                </a:cubicBezTo>
                <a:close/>
                <a:moveTo>
                  <a:pt x="419576" y="221838"/>
                </a:moveTo>
                <a:cubicBezTo>
                  <a:pt x="394144" y="221838"/>
                  <a:pt x="373380" y="242505"/>
                  <a:pt x="373380" y="267817"/>
                </a:cubicBezTo>
                <a:cubicBezTo>
                  <a:pt x="373380" y="293129"/>
                  <a:pt x="394144" y="313796"/>
                  <a:pt x="419576" y="313796"/>
                </a:cubicBezTo>
                <a:cubicBezTo>
                  <a:pt x="445008" y="313796"/>
                  <a:pt x="465772" y="293129"/>
                  <a:pt x="465772" y="267817"/>
                </a:cubicBezTo>
                <a:cubicBezTo>
                  <a:pt x="465772" y="242505"/>
                  <a:pt x="445008" y="221838"/>
                  <a:pt x="419576" y="221838"/>
                </a:cubicBezTo>
                <a:close/>
                <a:moveTo>
                  <a:pt x="737711" y="198137"/>
                </a:moveTo>
                <a:cubicBezTo>
                  <a:pt x="776287" y="198137"/>
                  <a:pt x="807720" y="229422"/>
                  <a:pt x="807720" y="267817"/>
                </a:cubicBezTo>
                <a:cubicBezTo>
                  <a:pt x="807720" y="306212"/>
                  <a:pt x="776287" y="337497"/>
                  <a:pt x="737711" y="337497"/>
                </a:cubicBezTo>
                <a:cubicBezTo>
                  <a:pt x="699135" y="337497"/>
                  <a:pt x="667702" y="306212"/>
                  <a:pt x="667702" y="267817"/>
                </a:cubicBezTo>
                <a:cubicBezTo>
                  <a:pt x="667702" y="229422"/>
                  <a:pt x="699135" y="198137"/>
                  <a:pt x="737711" y="198137"/>
                </a:cubicBezTo>
                <a:close/>
                <a:moveTo>
                  <a:pt x="419576" y="198137"/>
                </a:moveTo>
                <a:cubicBezTo>
                  <a:pt x="458152" y="198137"/>
                  <a:pt x="489585" y="229422"/>
                  <a:pt x="489585" y="267817"/>
                </a:cubicBezTo>
                <a:cubicBezTo>
                  <a:pt x="489585" y="306212"/>
                  <a:pt x="458152" y="337497"/>
                  <a:pt x="419576" y="337497"/>
                </a:cubicBezTo>
                <a:cubicBezTo>
                  <a:pt x="380999" y="337497"/>
                  <a:pt x="349567" y="306212"/>
                  <a:pt x="349567" y="267817"/>
                </a:cubicBezTo>
                <a:cubicBezTo>
                  <a:pt x="349567" y="229422"/>
                  <a:pt x="380999" y="198137"/>
                  <a:pt x="419576" y="198137"/>
                </a:cubicBezTo>
                <a:close/>
                <a:moveTo>
                  <a:pt x="1070133" y="186572"/>
                </a:moveTo>
                <a:lnTo>
                  <a:pt x="1070133" y="488518"/>
                </a:lnTo>
                <a:lnTo>
                  <a:pt x="1091469" y="488518"/>
                </a:lnTo>
                <a:lnTo>
                  <a:pt x="1091469" y="488519"/>
                </a:lnTo>
                <a:lnTo>
                  <a:pt x="1158716" y="488519"/>
                </a:lnTo>
                <a:lnTo>
                  <a:pt x="1158716" y="186572"/>
                </a:lnTo>
                <a:cubicBezTo>
                  <a:pt x="1158716" y="186572"/>
                  <a:pt x="1102191" y="186572"/>
                  <a:pt x="1073929" y="186572"/>
                </a:cubicBezTo>
                <a:close/>
                <a:moveTo>
                  <a:pt x="23813" y="186477"/>
                </a:moveTo>
                <a:lnTo>
                  <a:pt x="23813" y="488424"/>
                </a:lnTo>
                <a:cubicBezTo>
                  <a:pt x="23813" y="488424"/>
                  <a:pt x="80337" y="488424"/>
                  <a:pt x="108600" y="488424"/>
                </a:cubicBezTo>
                <a:lnTo>
                  <a:pt x="110013" y="488424"/>
                </a:lnTo>
                <a:lnTo>
                  <a:pt x="110013" y="186477"/>
                </a:lnTo>
                <a:lnTo>
                  <a:pt x="91059" y="186477"/>
                </a:lnTo>
                <a:close/>
                <a:moveTo>
                  <a:pt x="140969" y="23701"/>
                </a:moveTo>
                <a:cubicBezTo>
                  <a:pt x="137064" y="23701"/>
                  <a:pt x="133826" y="26924"/>
                  <a:pt x="133826" y="30811"/>
                </a:cubicBezTo>
                <a:lnTo>
                  <a:pt x="133826" y="644185"/>
                </a:lnTo>
                <a:cubicBezTo>
                  <a:pt x="133826" y="648072"/>
                  <a:pt x="137064" y="651295"/>
                  <a:pt x="140969" y="651295"/>
                </a:cubicBezTo>
                <a:lnTo>
                  <a:pt x="282416" y="651295"/>
                </a:lnTo>
                <a:lnTo>
                  <a:pt x="846772" y="651295"/>
                </a:lnTo>
                <a:lnTo>
                  <a:pt x="1039177" y="651295"/>
                </a:lnTo>
                <a:cubicBezTo>
                  <a:pt x="1043082" y="651295"/>
                  <a:pt x="1046321" y="648072"/>
                  <a:pt x="1046321" y="644185"/>
                </a:cubicBezTo>
                <a:lnTo>
                  <a:pt x="1046321" y="30811"/>
                </a:lnTo>
                <a:cubicBezTo>
                  <a:pt x="1046321" y="26924"/>
                  <a:pt x="1043082" y="23701"/>
                  <a:pt x="1039177" y="23701"/>
                </a:cubicBezTo>
                <a:lnTo>
                  <a:pt x="846772" y="23701"/>
                </a:lnTo>
                <a:close/>
                <a:moveTo>
                  <a:pt x="140969" y="0"/>
                </a:moveTo>
                <a:lnTo>
                  <a:pt x="846772" y="0"/>
                </a:lnTo>
                <a:lnTo>
                  <a:pt x="1039177" y="0"/>
                </a:lnTo>
                <a:cubicBezTo>
                  <a:pt x="1056227" y="0"/>
                  <a:pt x="1070133" y="13841"/>
                  <a:pt x="1070133" y="30811"/>
                </a:cubicBezTo>
                <a:lnTo>
                  <a:pt x="1070133" y="162871"/>
                </a:lnTo>
                <a:lnTo>
                  <a:pt x="1163478" y="162871"/>
                </a:lnTo>
                <a:cubicBezTo>
                  <a:pt x="1174146" y="162871"/>
                  <a:pt x="1182528" y="172256"/>
                  <a:pt x="1182528" y="184202"/>
                </a:cubicBezTo>
                <a:lnTo>
                  <a:pt x="1182528" y="490889"/>
                </a:lnTo>
                <a:cubicBezTo>
                  <a:pt x="1182528" y="502834"/>
                  <a:pt x="1174146" y="512219"/>
                  <a:pt x="1163478" y="512219"/>
                </a:cubicBezTo>
                <a:lnTo>
                  <a:pt x="1091469" y="512219"/>
                </a:lnTo>
                <a:lnTo>
                  <a:pt x="1070133" y="512219"/>
                </a:lnTo>
                <a:lnTo>
                  <a:pt x="1070133" y="644185"/>
                </a:lnTo>
                <a:cubicBezTo>
                  <a:pt x="1070133" y="661155"/>
                  <a:pt x="1056227" y="674996"/>
                  <a:pt x="1039177" y="674996"/>
                </a:cubicBezTo>
                <a:lnTo>
                  <a:pt x="846772" y="674996"/>
                </a:lnTo>
                <a:lnTo>
                  <a:pt x="282416" y="674996"/>
                </a:lnTo>
                <a:lnTo>
                  <a:pt x="140969" y="674996"/>
                </a:lnTo>
                <a:cubicBezTo>
                  <a:pt x="123920" y="674996"/>
                  <a:pt x="110013" y="661155"/>
                  <a:pt x="110013" y="644185"/>
                </a:cubicBezTo>
                <a:lnTo>
                  <a:pt x="110013" y="512219"/>
                </a:lnTo>
                <a:lnTo>
                  <a:pt x="19050" y="512219"/>
                </a:lnTo>
                <a:cubicBezTo>
                  <a:pt x="8382" y="512219"/>
                  <a:pt x="0" y="502834"/>
                  <a:pt x="0" y="490889"/>
                </a:cubicBezTo>
                <a:lnTo>
                  <a:pt x="0" y="184107"/>
                </a:lnTo>
                <a:cubicBezTo>
                  <a:pt x="0" y="172161"/>
                  <a:pt x="8382" y="162776"/>
                  <a:pt x="19050" y="162776"/>
                </a:cubicBezTo>
                <a:lnTo>
                  <a:pt x="91059" y="162776"/>
                </a:lnTo>
                <a:lnTo>
                  <a:pt x="110013" y="162776"/>
                </a:lnTo>
                <a:lnTo>
                  <a:pt x="110013" y="30811"/>
                </a:lnTo>
                <a:cubicBezTo>
                  <a:pt x="110013" y="13841"/>
                  <a:pt x="123920" y="0"/>
                  <a:pt x="140969" y="0"/>
                </a:cubicBezTo>
                <a:close/>
              </a:path>
            </a:pathLst>
          </a:custGeom>
          <a:gradFill>
            <a:gsLst>
              <a:gs pos="0">
                <a:srgbClr val="FF794C"/>
              </a:gs>
              <a:gs pos="100000">
                <a:srgbClr val="A435FD"/>
              </a:gs>
              <a:gs pos="33000">
                <a:srgbClr val="FE5A85"/>
              </a:gs>
              <a:gs pos="70000">
                <a:srgbClr val="EC1AEC"/>
              </a:gs>
            </a:gsLst>
            <a:lin ang="2700000" scaled="0"/>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endParaRPr>
          </a:p>
        </p:txBody>
      </p:sp>
      <p:sp>
        <p:nvSpPr>
          <p:cNvPr id="2" name="Freeform 8">
            <a:extLst>
              <a:ext uri="{FF2B5EF4-FFF2-40B4-BE49-F238E27FC236}">
                <a16:creationId xmlns:a16="http://schemas.microsoft.com/office/drawing/2014/main" id="{F0A247F8-7613-E88E-7258-2821B8994FCD}"/>
              </a:ext>
            </a:extLst>
          </p:cNvPr>
          <p:cNvSpPr/>
          <p:nvPr/>
        </p:nvSpPr>
        <p:spPr>
          <a:xfrm>
            <a:off x="7139510" y="337262"/>
            <a:ext cx="4726310" cy="2697813"/>
          </a:xfrm>
          <a:custGeom>
            <a:avLst/>
            <a:gdLst>
              <a:gd name="connsiteX0" fmla="*/ 737711 w 1182528"/>
              <a:gd name="connsiteY0" fmla="*/ 221838 h 674996"/>
              <a:gd name="connsiteX1" fmla="*/ 691515 w 1182528"/>
              <a:gd name="connsiteY1" fmla="*/ 267817 h 674996"/>
              <a:gd name="connsiteX2" fmla="*/ 737711 w 1182528"/>
              <a:gd name="connsiteY2" fmla="*/ 313796 h 674996"/>
              <a:gd name="connsiteX3" fmla="*/ 783907 w 1182528"/>
              <a:gd name="connsiteY3" fmla="*/ 267817 h 674996"/>
              <a:gd name="connsiteX4" fmla="*/ 737711 w 1182528"/>
              <a:gd name="connsiteY4" fmla="*/ 221838 h 674996"/>
              <a:gd name="connsiteX5" fmla="*/ 419576 w 1182528"/>
              <a:gd name="connsiteY5" fmla="*/ 221838 h 674996"/>
              <a:gd name="connsiteX6" fmla="*/ 373380 w 1182528"/>
              <a:gd name="connsiteY6" fmla="*/ 267817 h 674996"/>
              <a:gd name="connsiteX7" fmla="*/ 419576 w 1182528"/>
              <a:gd name="connsiteY7" fmla="*/ 313796 h 674996"/>
              <a:gd name="connsiteX8" fmla="*/ 465772 w 1182528"/>
              <a:gd name="connsiteY8" fmla="*/ 267817 h 674996"/>
              <a:gd name="connsiteX9" fmla="*/ 419576 w 1182528"/>
              <a:gd name="connsiteY9" fmla="*/ 221838 h 674996"/>
              <a:gd name="connsiteX10" fmla="*/ 737711 w 1182528"/>
              <a:gd name="connsiteY10" fmla="*/ 198137 h 674996"/>
              <a:gd name="connsiteX11" fmla="*/ 807720 w 1182528"/>
              <a:gd name="connsiteY11" fmla="*/ 267817 h 674996"/>
              <a:gd name="connsiteX12" fmla="*/ 737711 w 1182528"/>
              <a:gd name="connsiteY12" fmla="*/ 337497 h 674996"/>
              <a:gd name="connsiteX13" fmla="*/ 667702 w 1182528"/>
              <a:gd name="connsiteY13" fmla="*/ 267817 h 674996"/>
              <a:gd name="connsiteX14" fmla="*/ 737711 w 1182528"/>
              <a:gd name="connsiteY14" fmla="*/ 198137 h 674996"/>
              <a:gd name="connsiteX15" fmla="*/ 419576 w 1182528"/>
              <a:gd name="connsiteY15" fmla="*/ 198137 h 674996"/>
              <a:gd name="connsiteX16" fmla="*/ 489585 w 1182528"/>
              <a:gd name="connsiteY16" fmla="*/ 267817 h 674996"/>
              <a:gd name="connsiteX17" fmla="*/ 419576 w 1182528"/>
              <a:gd name="connsiteY17" fmla="*/ 337497 h 674996"/>
              <a:gd name="connsiteX18" fmla="*/ 349567 w 1182528"/>
              <a:gd name="connsiteY18" fmla="*/ 267817 h 674996"/>
              <a:gd name="connsiteX19" fmla="*/ 419576 w 1182528"/>
              <a:gd name="connsiteY19" fmla="*/ 198137 h 674996"/>
              <a:gd name="connsiteX20" fmla="*/ 1070133 w 1182528"/>
              <a:gd name="connsiteY20" fmla="*/ 186572 h 674996"/>
              <a:gd name="connsiteX21" fmla="*/ 1070133 w 1182528"/>
              <a:gd name="connsiteY21" fmla="*/ 488518 h 674996"/>
              <a:gd name="connsiteX22" fmla="*/ 1091469 w 1182528"/>
              <a:gd name="connsiteY22" fmla="*/ 488518 h 674996"/>
              <a:gd name="connsiteX23" fmla="*/ 1091469 w 1182528"/>
              <a:gd name="connsiteY23" fmla="*/ 488519 h 674996"/>
              <a:gd name="connsiteX24" fmla="*/ 1158716 w 1182528"/>
              <a:gd name="connsiteY24" fmla="*/ 488519 h 674996"/>
              <a:gd name="connsiteX25" fmla="*/ 1158716 w 1182528"/>
              <a:gd name="connsiteY25" fmla="*/ 186572 h 674996"/>
              <a:gd name="connsiteX26" fmla="*/ 1073929 w 1182528"/>
              <a:gd name="connsiteY26" fmla="*/ 186572 h 674996"/>
              <a:gd name="connsiteX27" fmla="*/ 23813 w 1182528"/>
              <a:gd name="connsiteY27" fmla="*/ 186477 h 674996"/>
              <a:gd name="connsiteX28" fmla="*/ 23813 w 1182528"/>
              <a:gd name="connsiteY28" fmla="*/ 488424 h 674996"/>
              <a:gd name="connsiteX29" fmla="*/ 108600 w 1182528"/>
              <a:gd name="connsiteY29" fmla="*/ 488424 h 674996"/>
              <a:gd name="connsiteX30" fmla="*/ 110013 w 1182528"/>
              <a:gd name="connsiteY30" fmla="*/ 488424 h 674996"/>
              <a:gd name="connsiteX31" fmla="*/ 110013 w 1182528"/>
              <a:gd name="connsiteY31" fmla="*/ 186477 h 674996"/>
              <a:gd name="connsiteX32" fmla="*/ 91059 w 1182528"/>
              <a:gd name="connsiteY32" fmla="*/ 186477 h 674996"/>
              <a:gd name="connsiteX33" fmla="*/ 140969 w 1182528"/>
              <a:gd name="connsiteY33" fmla="*/ 23701 h 674996"/>
              <a:gd name="connsiteX34" fmla="*/ 133826 w 1182528"/>
              <a:gd name="connsiteY34" fmla="*/ 30811 h 674996"/>
              <a:gd name="connsiteX35" fmla="*/ 133826 w 1182528"/>
              <a:gd name="connsiteY35" fmla="*/ 644185 h 674996"/>
              <a:gd name="connsiteX36" fmla="*/ 140969 w 1182528"/>
              <a:gd name="connsiteY36" fmla="*/ 651295 h 674996"/>
              <a:gd name="connsiteX37" fmla="*/ 282416 w 1182528"/>
              <a:gd name="connsiteY37" fmla="*/ 651295 h 674996"/>
              <a:gd name="connsiteX38" fmla="*/ 846772 w 1182528"/>
              <a:gd name="connsiteY38" fmla="*/ 651295 h 674996"/>
              <a:gd name="connsiteX39" fmla="*/ 1039177 w 1182528"/>
              <a:gd name="connsiteY39" fmla="*/ 651295 h 674996"/>
              <a:gd name="connsiteX40" fmla="*/ 1046321 w 1182528"/>
              <a:gd name="connsiteY40" fmla="*/ 644185 h 674996"/>
              <a:gd name="connsiteX41" fmla="*/ 1046321 w 1182528"/>
              <a:gd name="connsiteY41" fmla="*/ 30811 h 674996"/>
              <a:gd name="connsiteX42" fmla="*/ 1039177 w 1182528"/>
              <a:gd name="connsiteY42" fmla="*/ 23701 h 674996"/>
              <a:gd name="connsiteX43" fmla="*/ 846772 w 1182528"/>
              <a:gd name="connsiteY43" fmla="*/ 23701 h 674996"/>
              <a:gd name="connsiteX44" fmla="*/ 140969 w 1182528"/>
              <a:gd name="connsiteY44" fmla="*/ 0 h 674996"/>
              <a:gd name="connsiteX45" fmla="*/ 846772 w 1182528"/>
              <a:gd name="connsiteY45" fmla="*/ 0 h 674996"/>
              <a:gd name="connsiteX46" fmla="*/ 1039177 w 1182528"/>
              <a:gd name="connsiteY46" fmla="*/ 0 h 674996"/>
              <a:gd name="connsiteX47" fmla="*/ 1070133 w 1182528"/>
              <a:gd name="connsiteY47" fmla="*/ 30811 h 674996"/>
              <a:gd name="connsiteX48" fmla="*/ 1070133 w 1182528"/>
              <a:gd name="connsiteY48" fmla="*/ 162871 h 674996"/>
              <a:gd name="connsiteX49" fmla="*/ 1163478 w 1182528"/>
              <a:gd name="connsiteY49" fmla="*/ 162871 h 674996"/>
              <a:gd name="connsiteX50" fmla="*/ 1182528 w 1182528"/>
              <a:gd name="connsiteY50" fmla="*/ 184202 h 674996"/>
              <a:gd name="connsiteX51" fmla="*/ 1182528 w 1182528"/>
              <a:gd name="connsiteY51" fmla="*/ 490889 h 674996"/>
              <a:gd name="connsiteX52" fmla="*/ 1163478 w 1182528"/>
              <a:gd name="connsiteY52" fmla="*/ 512219 h 674996"/>
              <a:gd name="connsiteX53" fmla="*/ 1091469 w 1182528"/>
              <a:gd name="connsiteY53" fmla="*/ 512219 h 674996"/>
              <a:gd name="connsiteX54" fmla="*/ 1070133 w 1182528"/>
              <a:gd name="connsiteY54" fmla="*/ 512219 h 674996"/>
              <a:gd name="connsiteX55" fmla="*/ 1070133 w 1182528"/>
              <a:gd name="connsiteY55" fmla="*/ 644185 h 674996"/>
              <a:gd name="connsiteX56" fmla="*/ 1039177 w 1182528"/>
              <a:gd name="connsiteY56" fmla="*/ 674996 h 674996"/>
              <a:gd name="connsiteX57" fmla="*/ 846772 w 1182528"/>
              <a:gd name="connsiteY57" fmla="*/ 674996 h 674996"/>
              <a:gd name="connsiteX58" fmla="*/ 282416 w 1182528"/>
              <a:gd name="connsiteY58" fmla="*/ 674996 h 674996"/>
              <a:gd name="connsiteX59" fmla="*/ 140969 w 1182528"/>
              <a:gd name="connsiteY59" fmla="*/ 674996 h 674996"/>
              <a:gd name="connsiteX60" fmla="*/ 110013 w 1182528"/>
              <a:gd name="connsiteY60" fmla="*/ 644185 h 674996"/>
              <a:gd name="connsiteX61" fmla="*/ 110013 w 1182528"/>
              <a:gd name="connsiteY61" fmla="*/ 512219 h 674996"/>
              <a:gd name="connsiteX62" fmla="*/ 19050 w 1182528"/>
              <a:gd name="connsiteY62" fmla="*/ 512219 h 674996"/>
              <a:gd name="connsiteX63" fmla="*/ 0 w 1182528"/>
              <a:gd name="connsiteY63" fmla="*/ 490889 h 674996"/>
              <a:gd name="connsiteX64" fmla="*/ 0 w 1182528"/>
              <a:gd name="connsiteY64" fmla="*/ 184107 h 674996"/>
              <a:gd name="connsiteX65" fmla="*/ 19050 w 1182528"/>
              <a:gd name="connsiteY65" fmla="*/ 162776 h 674996"/>
              <a:gd name="connsiteX66" fmla="*/ 91059 w 1182528"/>
              <a:gd name="connsiteY66" fmla="*/ 162776 h 674996"/>
              <a:gd name="connsiteX67" fmla="*/ 110013 w 1182528"/>
              <a:gd name="connsiteY67" fmla="*/ 162776 h 674996"/>
              <a:gd name="connsiteX68" fmla="*/ 110013 w 1182528"/>
              <a:gd name="connsiteY68" fmla="*/ 30811 h 674996"/>
              <a:gd name="connsiteX69" fmla="*/ 140969 w 1182528"/>
              <a:gd name="connsiteY69" fmla="*/ 0 h 67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82528" h="674996">
                <a:moveTo>
                  <a:pt x="737711" y="221838"/>
                </a:moveTo>
                <a:cubicBezTo>
                  <a:pt x="712279" y="221838"/>
                  <a:pt x="691515" y="242505"/>
                  <a:pt x="691515" y="267817"/>
                </a:cubicBezTo>
                <a:cubicBezTo>
                  <a:pt x="691515" y="293129"/>
                  <a:pt x="712279" y="313796"/>
                  <a:pt x="737711" y="313796"/>
                </a:cubicBezTo>
                <a:cubicBezTo>
                  <a:pt x="763143" y="313796"/>
                  <a:pt x="783907" y="293129"/>
                  <a:pt x="783907" y="267817"/>
                </a:cubicBezTo>
                <a:cubicBezTo>
                  <a:pt x="783907" y="242505"/>
                  <a:pt x="763143" y="221838"/>
                  <a:pt x="737711" y="221838"/>
                </a:cubicBezTo>
                <a:close/>
                <a:moveTo>
                  <a:pt x="419576" y="221838"/>
                </a:moveTo>
                <a:cubicBezTo>
                  <a:pt x="394144" y="221838"/>
                  <a:pt x="373380" y="242505"/>
                  <a:pt x="373380" y="267817"/>
                </a:cubicBezTo>
                <a:cubicBezTo>
                  <a:pt x="373380" y="293129"/>
                  <a:pt x="394144" y="313796"/>
                  <a:pt x="419576" y="313796"/>
                </a:cubicBezTo>
                <a:cubicBezTo>
                  <a:pt x="445008" y="313796"/>
                  <a:pt x="465772" y="293129"/>
                  <a:pt x="465772" y="267817"/>
                </a:cubicBezTo>
                <a:cubicBezTo>
                  <a:pt x="465772" y="242505"/>
                  <a:pt x="445008" y="221838"/>
                  <a:pt x="419576" y="221838"/>
                </a:cubicBezTo>
                <a:close/>
                <a:moveTo>
                  <a:pt x="737711" y="198137"/>
                </a:moveTo>
                <a:cubicBezTo>
                  <a:pt x="776287" y="198137"/>
                  <a:pt x="807720" y="229422"/>
                  <a:pt x="807720" y="267817"/>
                </a:cubicBezTo>
                <a:cubicBezTo>
                  <a:pt x="807720" y="306212"/>
                  <a:pt x="776287" y="337497"/>
                  <a:pt x="737711" y="337497"/>
                </a:cubicBezTo>
                <a:cubicBezTo>
                  <a:pt x="699135" y="337497"/>
                  <a:pt x="667702" y="306212"/>
                  <a:pt x="667702" y="267817"/>
                </a:cubicBezTo>
                <a:cubicBezTo>
                  <a:pt x="667702" y="229422"/>
                  <a:pt x="699135" y="198137"/>
                  <a:pt x="737711" y="198137"/>
                </a:cubicBezTo>
                <a:close/>
                <a:moveTo>
                  <a:pt x="419576" y="198137"/>
                </a:moveTo>
                <a:cubicBezTo>
                  <a:pt x="458152" y="198137"/>
                  <a:pt x="489585" y="229422"/>
                  <a:pt x="489585" y="267817"/>
                </a:cubicBezTo>
                <a:cubicBezTo>
                  <a:pt x="489585" y="306212"/>
                  <a:pt x="458152" y="337497"/>
                  <a:pt x="419576" y="337497"/>
                </a:cubicBezTo>
                <a:cubicBezTo>
                  <a:pt x="380999" y="337497"/>
                  <a:pt x="349567" y="306212"/>
                  <a:pt x="349567" y="267817"/>
                </a:cubicBezTo>
                <a:cubicBezTo>
                  <a:pt x="349567" y="229422"/>
                  <a:pt x="380999" y="198137"/>
                  <a:pt x="419576" y="198137"/>
                </a:cubicBezTo>
                <a:close/>
                <a:moveTo>
                  <a:pt x="1070133" y="186572"/>
                </a:moveTo>
                <a:lnTo>
                  <a:pt x="1070133" y="488518"/>
                </a:lnTo>
                <a:lnTo>
                  <a:pt x="1091469" y="488518"/>
                </a:lnTo>
                <a:lnTo>
                  <a:pt x="1091469" y="488519"/>
                </a:lnTo>
                <a:lnTo>
                  <a:pt x="1158716" y="488519"/>
                </a:lnTo>
                <a:lnTo>
                  <a:pt x="1158716" y="186572"/>
                </a:lnTo>
                <a:cubicBezTo>
                  <a:pt x="1158716" y="186572"/>
                  <a:pt x="1102191" y="186572"/>
                  <a:pt x="1073929" y="186572"/>
                </a:cubicBezTo>
                <a:close/>
                <a:moveTo>
                  <a:pt x="23813" y="186477"/>
                </a:moveTo>
                <a:lnTo>
                  <a:pt x="23813" y="488424"/>
                </a:lnTo>
                <a:cubicBezTo>
                  <a:pt x="23813" y="488424"/>
                  <a:pt x="80337" y="488424"/>
                  <a:pt x="108600" y="488424"/>
                </a:cubicBezTo>
                <a:lnTo>
                  <a:pt x="110013" y="488424"/>
                </a:lnTo>
                <a:lnTo>
                  <a:pt x="110013" y="186477"/>
                </a:lnTo>
                <a:lnTo>
                  <a:pt x="91059" y="186477"/>
                </a:lnTo>
                <a:close/>
                <a:moveTo>
                  <a:pt x="140969" y="23701"/>
                </a:moveTo>
                <a:cubicBezTo>
                  <a:pt x="137064" y="23701"/>
                  <a:pt x="133826" y="26924"/>
                  <a:pt x="133826" y="30811"/>
                </a:cubicBezTo>
                <a:lnTo>
                  <a:pt x="133826" y="644185"/>
                </a:lnTo>
                <a:cubicBezTo>
                  <a:pt x="133826" y="648072"/>
                  <a:pt x="137064" y="651295"/>
                  <a:pt x="140969" y="651295"/>
                </a:cubicBezTo>
                <a:lnTo>
                  <a:pt x="282416" y="651295"/>
                </a:lnTo>
                <a:lnTo>
                  <a:pt x="846772" y="651295"/>
                </a:lnTo>
                <a:lnTo>
                  <a:pt x="1039177" y="651295"/>
                </a:lnTo>
                <a:cubicBezTo>
                  <a:pt x="1043082" y="651295"/>
                  <a:pt x="1046321" y="648072"/>
                  <a:pt x="1046321" y="644185"/>
                </a:cubicBezTo>
                <a:lnTo>
                  <a:pt x="1046321" y="30811"/>
                </a:lnTo>
                <a:cubicBezTo>
                  <a:pt x="1046321" y="26924"/>
                  <a:pt x="1043082" y="23701"/>
                  <a:pt x="1039177" y="23701"/>
                </a:cubicBezTo>
                <a:lnTo>
                  <a:pt x="846772" y="23701"/>
                </a:lnTo>
                <a:close/>
                <a:moveTo>
                  <a:pt x="140969" y="0"/>
                </a:moveTo>
                <a:lnTo>
                  <a:pt x="846772" y="0"/>
                </a:lnTo>
                <a:lnTo>
                  <a:pt x="1039177" y="0"/>
                </a:lnTo>
                <a:cubicBezTo>
                  <a:pt x="1056227" y="0"/>
                  <a:pt x="1070133" y="13841"/>
                  <a:pt x="1070133" y="30811"/>
                </a:cubicBezTo>
                <a:lnTo>
                  <a:pt x="1070133" y="162871"/>
                </a:lnTo>
                <a:lnTo>
                  <a:pt x="1163478" y="162871"/>
                </a:lnTo>
                <a:cubicBezTo>
                  <a:pt x="1174146" y="162871"/>
                  <a:pt x="1182528" y="172256"/>
                  <a:pt x="1182528" y="184202"/>
                </a:cubicBezTo>
                <a:lnTo>
                  <a:pt x="1182528" y="490889"/>
                </a:lnTo>
                <a:cubicBezTo>
                  <a:pt x="1182528" y="502834"/>
                  <a:pt x="1174146" y="512219"/>
                  <a:pt x="1163478" y="512219"/>
                </a:cubicBezTo>
                <a:lnTo>
                  <a:pt x="1091469" y="512219"/>
                </a:lnTo>
                <a:lnTo>
                  <a:pt x="1070133" y="512219"/>
                </a:lnTo>
                <a:lnTo>
                  <a:pt x="1070133" y="644185"/>
                </a:lnTo>
                <a:cubicBezTo>
                  <a:pt x="1070133" y="661155"/>
                  <a:pt x="1056227" y="674996"/>
                  <a:pt x="1039177" y="674996"/>
                </a:cubicBezTo>
                <a:lnTo>
                  <a:pt x="846772" y="674996"/>
                </a:lnTo>
                <a:lnTo>
                  <a:pt x="282416" y="674996"/>
                </a:lnTo>
                <a:lnTo>
                  <a:pt x="140969" y="674996"/>
                </a:lnTo>
                <a:cubicBezTo>
                  <a:pt x="123920" y="674996"/>
                  <a:pt x="110013" y="661155"/>
                  <a:pt x="110013" y="644185"/>
                </a:cubicBezTo>
                <a:lnTo>
                  <a:pt x="110013" y="512219"/>
                </a:lnTo>
                <a:lnTo>
                  <a:pt x="19050" y="512219"/>
                </a:lnTo>
                <a:cubicBezTo>
                  <a:pt x="8382" y="512219"/>
                  <a:pt x="0" y="502834"/>
                  <a:pt x="0" y="490889"/>
                </a:cubicBezTo>
                <a:lnTo>
                  <a:pt x="0" y="184107"/>
                </a:lnTo>
                <a:cubicBezTo>
                  <a:pt x="0" y="172161"/>
                  <a:pt x="8382" y="162776"/>
                  <a:pt x="19050" y="162776"/>
                </a:cubicBezTo>
                <a:lnTo>
                  <a:pt x="91059" y="162776"/>
                </a:lnTo>
                <a:lnTo>
                  <a:pt x="110013" y="162776"/>
                </a:lnTo>
                <a:lnTo>
                  <a:pt x="110013" y="30811"/>
                </a:lnTo>
                <a:cubicBezTo>
                  <a:pt x="110013" y="13841"/>
                  <a:pt x="123920" y="0"/>
                  <a:pt x="140969" y="0"/>
                </a:cubicBezTo>
                <a:close/>
              </a:path>
            </a:pathLst>
          </a:custGeom>
          <a:gradFill>
            <a:gsLst>
              <a:gs pos="0">
                <a:srgbClr val="FF794C">
                  <a:alpha val="10000"/>
                </a:srgbClr>
              </a:gs>
              <a:gs pos="100000">
                <a:srgbClr val="A435FD">
                  <a:alpha val="10000"/>
                </a:srgbClr>
              </a:gs>
              <a:gs pos="33000">
                <a:srgbClr val="FE5A85">
                  <a:alpha val="7000"/>
                </a:srgbClr>
              </a:gs>
              <a:gs pos="70000">
                <a:srgbClr val="EC1AEC">
                  <a:alpha val="16000"/>
                </a:srgbClr>
              </a:gs>
            </a:gsLst>
            <a:lin ang="2700000" scaled="0"/>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endParaRPr>
          </a:p>
        </p:txBody>
      </p:sp>
    </p:spTree>
    <p:extLst>
      <p:ext uri="{BB962C8B-B14F-4D97-AF65-F5344CB8AC3E}">
        <p14:creationId xmlns:p14="http://schemas.microsoft.com/office/powerpoint/2010/main" val="3180070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4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F0A4-0452-C463-CCEF-B72B95B40EF0}"/>
              </a:ext>
            </a:extLst>
          </p:cNvPr>
          <p:cNvSpPr>
            <a:spLocks noGrp="1"/>
          </p:cNvSpPr>
          <p:nvPr>
            <p:ph type="title"/>
          </p:nvPr>
        </p:nvSpPr>
        <p:spPr/>
        <p:txBody>
          <a:bodyPr/>
          <a:lstStyle/>
          <a:p>
            <a:r>
              <a:rPr lang="en-US" sz="4400" b="0" dirty="0">
                <a:latin typeface="Amazon Ember" panose="020B0603020204020204" pitchFamily="34" charset="0"/>
                <a:ea typeface="Amazon Ember" panose="020B0603020204020204" pitchFamily="34" charset="0"/>
                <a:cs typeface="Amazon Ember" panose="020B0603020204020204" pitchFamily="34" charset="0"/>
              </a:rPr>
              <a:t>The Evolution of the Workflow</a:t>
            </a:r>
          </a:p>
        </p:txBody>
      </p:sp>
      <p:pic>
        <p:nvPicPr>
          <p:cNvPr id="6" name="Content Placeholder 5">
            <a:extLst>
              <a:ext uri="{FF2B5EF4-FFF2-40B4-BE49-F238E27FC236}">
                <a16:creationId xmlns:a16="http://schemas.microsoft.com/office/drawing/2014/main" id="{2E025D00-FAED-FF8C-0E83-3C0296B39FFE}"/>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60469" y="1714500"/>
            <a:ext cx="4946536" cy="4229100"/>
          </a:xfrm>
        </p:spPr>
      </p:pic>
      <p:sp>
        <p:nvSpPr>
          <p:cNvPr id="9" name="Rectangle 8">
            <a:extLst>
              <a:ext uri="{FF2B5EF4-FFF2-40B4-BE49-F238E27FC236}">
                <a16:creationId xmlns:a16="http://schemas.microsoft.com/office/drawing/2014/main" id="{835C2851-F14C-A5DF-700B-16D978F8AB0D}"/>
              </a:ext>
            </a:extLst>
          </p:cNvPr>
          <p:cNvSpPr/>
          <p:nvPr/>
        </p:nvSpPr>
        <p:spPr>
          <a:xfrm>
            <a:off x="8460129" y="4482389"/>
            <a:ext cx="1179576" cy="67901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mazon Ember Display"/>
              </a:rPr>
              <a:t>Result</a:t>
            </a:r>
            <a:endParaRPr kumimoji="0" lang="en-US" sz="1800" b="0" i="0" u="none" strike="noStrike" kern="1200" cap="none" spc="0" normalizeH="0" baseline="0" noProof="0" dirty="0">
              <a:ln>
                <a:noFill/>
              </a:ln>
              <a:solidFill>
                <a:srgbClr val="FFFFFF"/>
              </a:solidFill>
              <a:effectLst/>
              <a:uLnTx/>
              <a:uFillTx/>
              <a:latin typeface="Amazon Ember Display"/>
              <a:ea typeface="+mn-ea"/>
              <a:cs typeface="+mn-cs"/>
            </a:endParaRPr>
          </a:p>
        </p:txBody>
      </p:sp>
      <p:sp>
        <p:nvSpPr>
          <p:cNvPr id="10" name="Rectangle 9">
            <a:extLst>
              <a:ext uri="{FF2B5EF4-FFF2-40B4-BE49-F238E27FC236}">
                <a16:creationId xmlns:a16="http://schemas.microsoft.com/office/drawing/2014/main" id="{F9F67EBC-5B6E-D40B-0DAD-FEF1EE8B7962}"/>
              </a:ext>
            </a:extLst>
          </p:cNvPr>
          <p:cNvSpPr/>
          <p:nvPr/>
        </p:nvSpPr>
        <p:spPr>
          <a:xfrm>
            <a:off x="10214994" y="2700796"/>
            <a:ext cx="1367406" cy="46978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Display"/>
                <a:ea typeface="+mn-ea"/>
                <a:cs typeface="+mn-cs"/>
              </a:rPr>
              <a:t>Systems</a:t>
            </a:r>
          </a:p>
        </p:txBody>
      </p:sp>
      <p:cxnSp>
        <p:nvCxnSpPr>
          <p:cNvPr id="12" name="Straight Arrow Connector 11">
            <a:extLst>
              <a:ext uri="{FF2B5EF4-FFF2-40B4-BE49-F238E27FC236}">
                <a16:creationId xmlns:a16="http://schemas.microsoft.com/office/drawing/2014/main" id="{AB42AD3D-8261-D183-BBE6-D51F77090BEF}"/>
              </a:ext>
            </a:extLst>
          </p:cNvPr>
          <p:cNvCxnSpPr>
            <a:cxnSpLocks/>
          </p:cNvCxnSpPr>
          <p:nvPr/>
        </p:nvCxnSpPr>
        <p:spPr>
          <a:xfrm>
            <a:off x="9712728" y="3446536"/>
            <a:ext cx="362124" cy="0"/>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29A42C6-DF41-3B82-8CD2-0A982D11299D}"/>
              </a:ext>
            </a:extLst>
          </p:cNvPr>
          <p:cNvCxnSpPr>
            <a:cxnSpLocks/>
          </p:cNvCxnSpPr>
          <p:nvPr/>
        </p:nvCxnSpPr>
        <p:spPr>
          <a:xfrm>
            <a:off x="9051393" y="3940810"/>
            <a:ext cx="0" cy="429819"/>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EC129B3-BBC1-9EE9-C9FD-39C22AAB76A1}"/>
              </a:ext>
            </a:extLst>
          </p:cNvPr>
          <p:cNvSpPr/>
          <p:nvPr/>
        </p:nvSpPr>
        <p:spPr>
          <a:xfrm>
            <a:off x="8460129" y="2062345"/>
            <a:ext cx="1179576" cy="46978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Display"/>
                <a:ea typeface="+mn-ea"/>
                <a:cs typeface="+mn-cs"/>
              </a:rPr>
              <a:t>Task</a:t>
            </a:r>
          </a:p>
        </p:txBody>
      </p:sp>
      <p:cxnSp>
        <p:nvCxnSpPr>
          <p:cNvPr id="21" name="Straight Arrow Connector 20">
            <a:extLst>
              <a:ext uri="{FF2B5EF4-FFF2-40B4-BE49-F238E27FC236}">
                <a16:creationId xmlns:a16="http://schemas.microsoft.com/office/drawing/2014/main" id="{1A9E76DC-1018-CEE7-511B-093C28F5A987}"/>
              </a:ext>
            </a:extLst>
          </p:cNvPr>
          <p:cNvCxnSpPr>
            <a:cxnSpLocks/>
          </p:cNvCxnSpPr>
          <p:nvPr/>
        </p:nvCxnSpPr>
        <p:spPr>
          <a:xfrm>
            <a:off x="9051393" y="2643889"/>
            <a:ext cx="0" cy="398480"/>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81B344A4-728C-B739-2449-EF1374341CE6}"/>
              </a:ext>
            </a:extLst>
          </p:cNvPr>
          <p:cNvSpPr/>
          <p:nvPr/>
        </p:nvSpPr>
        <p:spPr>
          <a:xfrm>
            <a:off x="10214994" y="3242755"/>
            <a:ext cx="1367406" cy="46978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Display"/>
                <a:ea typeface="+mn-ea"/>
                <a:cs typeface="+mn-cs"/>
              </a:rPr>
              <a:t>Databases</a:t>
            </a:r>
          </a:p>
        </p:txBody>
      </p:sp>
      <p:sp>
        <p:nvSpPr>
          <p:cNvPr id="28" name="Rectangle 27">
            <a:extLst>
              <a:ext uri="{FF2B5EF4-FFF2-40B4-BE49-F238E27FC236}">
                <a16:creationId xmlns:a16="http://schemas.microsoft.com/office/drawing/2014/main" id="{3A30AD91-8AFA-718C-F5C0-FEAB60E34549}"/>
              </a:ext>
            </a:extLst>
          </p:cNvPr>
          <p:cNvSpPr/>
          <p:nvPr/>
        </p:nvSpPr>
        <p:spPr>
          <a:xfrm>
            <a:off x="10214994" y="3784714"/>
            <a:ext cx="1367406" cy="46978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Display"/>
                <a:ea typeface="+mn-ea"/>
                <a:cs typeface="+mn-cs"/>
              </a:rPr>
              <a:t>Tools</a:t>
            </a:r>
          </a:p>
        </p:txBody>
      </p:sp>
      <p:sp>
        <p:nvSpPr>
          <p:cNvPr id="4" name="Freeform 3">
            <a:extLst>
              <a:ext uri="{FF2B5EF4-FFF2-40B4-BE49-F238E27FC236}">
                <a16:creationId xmlns:a16="http://schemas.microsoft.com/office/drawing/2014/main" id="{00B25B40-890C-7FB9-A5DF-131284A98B14}"/>
              </a:ext>
            </a:extLst>
          </p:cNvPr>
          <p:cNvSpPr/>
          <p:nvPr/>
        </p:nvSpPr>
        <p:spPr>
          <a:xfrm>
            <a:off x="8460129" y="3154054"/>
            <a:ext cx="1182528" cy="674996"/>
          </a:xfrm>
          <a:custGeom>
            <a:avLst/>
            <a:gdLst>
              <a:gd name="connsiteX0" fmla="*/ 737711 w 1182528"/>
              <a:gd name="connsiteY0" fmla="*/ 221838 h 674996"/>
              <a:gd name="connsiteX1" fmla="*/ 691515 w 1182528"/>
              <a:gd name="connsiteY1" fmla="*/ 267817 h 674996"/>
              <a:gd name="connsiteX2" fmla="*/ 737711 w 1182528"/>
              <a:gd name="connsiteY2" fmla="*/ 313796 h 674996"/>
              <a:gd name="connsiteX3" fmla="*/ 783907 w 1182528"/>
              <a:gd name="connsiteY3" fmla="*/ 267817 h 674996"/>
              <a:gd name="connsiteX4" fmla="*/ 737711 w 1182528"/>
              <a:gd name="connsiteY4" fmla="*/ 221838 h 674996"/>
              <a:gd name="connsiteX5" fmla="*/ 419576 w 1182528"/>
              <a:gd name="connsiteY5" fmla="*/ 221838 h 674996"/>
              <a:gd name="connsiteX6" fmla="*/ 373380 w 1182528"/>
              <a:gd name="connsiteY6" fmla="*/ 267817 h 674996"/>
              <a:gd name="connsiteX7" fmla="*/ 419576 w 1182528"/>
              <a:gd name="connsiteY7" fmla="*/ 313796 h 674996"/>
              <a:gd name="connsiteX8" fmla="*/ 465772 w 1182528"/>
              <a:gd name="connsiteY8" fmla="*/ 267817 h 674996"/>
              <a:gd name="connsiteX9" fmla="*/ 419576 w 1182528"/>
              <a:gd name="connsiteY9" fmla="*/ 221838 h 674996"/>
              <a:gd name="connsiteX10" fmla="*/ 737711 w 1182528"/>
              <a:gd name="connsiteY10" fmla="*/ 198137 h 674996"/>
              <a:gd name="connsiteX11" fmla="*/ 807720 w 1182528"/>
              <a:gd name="connsiteY11" fmla="*/ 267817 h 674996"/>
              <a:gd name="connsiteX12" fmla="*/ 737711 w 1182528"/>
              <a:gd name="connsiteY12" fmla="*/ 337497 h 674996"/>
              <a:gd name="connsiteX13" fmla="*/ 667702 w 1182528"/>
              <a:gd name="connsiteY13" fmla="*/ 267817 h 674996"/>
              <a:gd name="connsiteX14" fmla="*/ 737711 w 1182528"/>
              <a:gd name="connsiteY14" fmla="*/ 198137 h 674996"/>
              <a:gd name="connsiteX15" fmla="*/ 419576 w 1182528"/>
              <a:gd name="connsiteY15" fmla="*/ 198137 h 674996"/>
              <a:gd name="connsiteX16" fmla="*/ 489585 w 1182528"/>
              <a:gd name="connsiteY16" fmla="*/ 267817 h 674996"/>
              <a:gd name="connsiteX17" fmla="*/ 419576 w 1182528"/>
              <a:gd name="connsiteY17" fmla="*/ 337497 h 674996"/>
              <a:gd name="connsiteX18" fmla="*/ 349567 w 1182528"/>
              <a:gd name="connsiteY18" fmla="*/ 267817 h 674996"/>
              <a:gd name="connsiteX19" fmla="*/ 419576 w 1182528"/>
              <a:gd name="connsiteY19" fmla="*/ 198137 h 674996"/>
              <a:gd name="connsiteX20" fmla="*/ 1070133 w 1182528"/>
              <a:gd name="connsiteY20" fmla="*/ 186572 h 674996"/>
              <a:gd name="connsiteX21" fmla="*/ 1070133 w 1182528"/>
              <a:gd name="connsiteY21" fmla="*/ 488518 h 674996"/>
              <a:gd name="connsiteX22" fmla="*/ 1091469 w 1182528"/>
              <a:gd name="connsiteY22" fmla="*/ 488518 h 674996"/>
              <a:gd name="connsiteX23" fmla="*/ 1091469 w 1182528"/>
              <a:gd name="connsiteY23" fmla="*/ 488519 h 674996"/>
              <a:gd name="connsiteX24" fmla="*/ 1158716 w 1182528"/>
              <a:gd name="connsiteY24" fmla="*/ 488519 h 674996"/>
              <a:gd name="connsiteX25" fmla="*/ 1158716 w 1182528"/>
              <a:gd name="connsiteY25" fmla="*/ 186572 h 674996"/>
              <a:gd name="connsiteX26" fmla="*/ 1073929 w 1182528"/>
              <a:gd name="connsiteY26" fmla="*/ 186572 h 674996"/>
              <a:gd name="connsiteX27" fmla="*/ 23813 w 1182528"/>
              <a:gd name="connsiteY27" fmla="*/ 186477 h 674996"/>
              <a:gd name="connsiteX28" fmla="*/ 23813 w 1182528"/>
              <a:gd name="connsiteY28" fmla="*/ 488424 h 674996"/>
              <a:gd name="connsiteX29" fmla="*/ 108600 w 1182528"/>
              <a:gd name="connsiteY29" fmla="*/ 488424 h 674996"/>
              <a:gd name="connsiteX30" fmla="*/ 110013 w 1182528"/>
              <a:gd name="connsiteY30" fmla="*/ 488424 h 674996"/>
              <a:gd name="connsiteX31" fmla="*/ 110013 w 1182528"/>
              <a:gd name="connsiteY31" fmla="*/ 186477 h 674996"/>
              <a:gd name="connsiteX32" fmla="*/ 91059 w 1182528"/>
              <a:gd name="connsiteY32" fmla="*/ 186477 h 674996"/>
              <a:gd name="connsiteX33" fmla="*/ 140969 w 1182528"/>
              <a:gd name="connsiteY33" fmla="*/ 23701 h 674996"/>
              <a:gd name="connsiteX34" fmla="*/ 133826 w 1182528"/>
              <a:gd name="connsiteY34" fmla="*/ 30811 h 674996"/>
              <a:gd name="connsiteX35" fmla="*/ 133826 w 1182528"/>
              <a:gd name="connsiteY35" fmla="*/ 644185 h 674996"/>
              <a:gd name="connsiteX36" fmla="*/ 140969 w 1182528"/>
              <a:gd name="connsiteY36" fmla="*/ 651295 h 674996"/>
              <a:gd name="connsiteX37" fmla="*/ 282416 w 1182528"/>
              <a:gd name="connsiteY37" fmla="*/ 651295 h 674996"/>
              <a:gd name="connsiteX38" fmla="*/ 846772 w 1182528"/>
              <a:gd name="connsiteY38" fmla="*/ 651295 h 674996"/>
              <a:gd name="connsiteX39" fmla="*/ 1039177 w 1182528"/>
              <a:gd name="connsiteY39" fmla="*/ 651295 h 674996"/>
              <a:gd name="connsiteX40" fmla="*/ 1046321 w 1182528"/>
              <a:gd name="connsiteY40" fmla="*/ 644185 h 674996"/>
              <a:gd name="connsiteX41" fmla="*/ 1046321 w 1182528"/>
              <a:gd name="connsiteY41" fmla="*/ 30811 h 674996"/>
              <a:gd name="connsiteX42" fmla="*/ 1039177 w 1182528"/>
              <a:gd name="connsiteY42" fmla="*/ 23701 h 674996"/>
              <a:gd name="connsiteX43" fmla="*/ 846772 w 1182528"/>
              <a:gd name="connsiteY43" fmla="*/ 23701 h 674996"/>
              <a:gd name="connsiteX44" fmla="*/ 140969 w 1182528"/>
              <a:gd name="connsiteY44" fmla="*/ 0 h 674996"/>
              <a:gd name="connsiteX45" fmla="*/ 846772 w 1182528"/>
              <a:gd name="connsiteY45" fmla="*/ 0 h 674996"/>
              <a:gd name="connsiteX46" fmla="*/ 1039177 w 1182528"/>
              <a:gd name="connsiteY46" fmla="*/ 0 h 674996"/>
              <a:gd name="connsiteX47" fmla="*/ 1070133 w 1182528"/>
              <a:gd name="connsiteY47" fmla="*/ 30811 h 674996"/>
              <a:gd name="connsiteX48" fmla="*/ 1070133 w 1182528"/>
              <a:gd name="connsiteY48" fmla="*/ 162871 h 674996"/>
              <a:gd name="connsiteX49" fmla="*/ 1163478 w 1182528"/>
              <a:gd name="connsiteY49" fmla="*/ 162871 h 674996"/>
              <a:gd name="connsiteX50" fmla="*/ 1182528 w 1182528"/>
              <a:gd name="connsiteY50" fmla="*/ 184202 h 674996"/>
              <a:gd name="connsiteX51" fmla="*/ 1182528 w 1182528"/>
              <a:gd name="connsiteY51" fmla="*/ 490889 h 674996"/>
              <a:gd name="connsiteX52" fmla="*/ 1163478 w 1182528"/>
              <a:gd name="connsiteY52" fmla="*/ 512219 h 674996"/>
              <a:gd name="connsiteX53" fmla="*/ 1091469 w 1182528"/>
              <a:gd name="connsiteY53" fmla="*/ 512219 h 674996"/>
              <a:gd name="connsiteX54" fmla="*/ 1070133 w 1182528"/>
              <a:gd name="connsiteY54" fmla="*/ 512219 h 674996"/>
              <a:gd name="connsiteX55" fmla="*/ 1070133 w 1182528"/>
              <a:gd name="connsiteY55" fmla="*/ 644185 h 674996"/>
              <a:gd name="connsiteX56" fmla="*/ 1039177 w 1182528"/>
              <a:gd name="connsiteY56" fmla="*/ 674996 h 674996"/>
              <a:gd name="connsiteX57" fmla="*/ 846772 w 1182528"/>
              <a:gd name="connsiteY57" fmla="*/ 674996 h 674996"/>
              <a:gd name="connsiteX58" fmla="*/ 282416 w 1182528"/>
              <a:gd name="connsiteY58" fmla="*/ 674996 h 674996"/>
              <a:gd name="connsiteX59" fmla="*/ 140969 w 1182528"/>
              <a:gd name="connsiteY59" fmla="*/ 674996 h 674996"/>
              <a:gd name="connsiteX60" fmla="*/ 110013 w 1182528"/>
              <a:gd name="connsiteY60" fmla="*/ 644185 h 674996"/>
              <a:gd name="connsiteX61" fmla="*/ 110013 w 1182528"/>
              <a:gd name="connsiteY61" fmla="*/ 512219 h 674996"/>
              <a:gd name="connsiteX62" fmla="*/ 19050 w 1182528"/>
              <a:gd name="connsiteY62" fmla="*/ 512219 h 674996"/>
              <a:gd name="connsiteX63" fmla="*/ 0 w 1182528"/>
              <a:gd name="connsiteY63" fmla="*/ 490889 h 674996"/>
              <a:gd name="connsiteX64" fmla="*/ 0 w 1182528"/>
              <a:gd name="connsiteY64" fmla="*/ 184107 h 674996"/>
              <a:gd name="connsiteX65" fmla="*/ 19050 w 1182528"/>
              <a:gd name="connsiteY65" fmla="*/ 162776 h 674996"/>
              <a:gd name="connsiteX66" fmla="*/ 91059 w 1182528"/>
              <a:gd name="connsiteY66" fmla="*/ 162776 h 674996"/>
              <a:gd name="connsiteX67" fmla="*/ 110013 w 1182528"/>
              <a:gd name="connsiteY67" fmla="*/ 162776 h 674996"/>
              <a:gd name="connsiteX68" fmla="*/ 110013 w 1182528"/>
              <a:gd name="connsiteY68" fmla="*/ 30811 h 674996"/>
              <a:gd name="connsiteX69" fmla="*/ 140969 w 1182528"/>
              <a:gd name="connsiteY69" fmla="*/ 0 h 67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82528" h="674996">
                <a:moveTo>
                  <a:pt x="737711" y="221838"/>
                </a:moveTo>
                <a:cubicBezTo>
                  <a:pt x="712279" y="221838"/>
                  <a:pt x="691515" y="242505"/>
                  <a:pt x="691515" y="267817"/>
                </a:cubicBezTo>
                <a:cubicBezTo>
                  <a:pt x="691515" y="293129"/>
                  <a:pt x="712279" y="313796"/>
                  <a:pt x="737711" y="313796"/>
                </a:cubicBezTo>
                <a:cubicBezTo>
                  <a:pt x="763143" y="313796"/>
                  <a:pt x="783907" y="293129"/>
                  <a:pt x="783907" y="267817"/>
                </a:cubicBezTo>
                <a:cubicBezTo>
                  <a:pt x="783907" y="242505"/>
                  <a:pt x="763143" y="221838"/>
                  <a:pt x="737711" y="221838"/>
                </a:cubicBezTo>
                <a:close/>
                <a:moveTo>
                  <a:pt x="419576" y="221838"/>
                </a:moveTo>
                <a:cubicBezTo>
                  <a:pt x="394144" y="221838"/>
                  <a:pt x="373380" y="242505"/>
                  <a:pt x="373380" y="267817"/>
                </a:cubicBezTo>
                <a:cubicBezTo>
                  <a:pt x="373380" y="293129"/>
                  <a:pt x="394144" y="313796"/>
                  <a:pt x="419576" y="313796"/>
                </a:cubicBezTo>
                <a:cubicBezTo>
                  <a:pt x="445008" y="313796"/>
                  <a:pt x="465772" y="293129"/>
                  <a:pt x="465772" y="267817"/>
                </a:cubicBezTo>
                <a:cubicBezTo>
                  <a:pt x="465772" y="242505"/>
                  <a:pt x="445008" y="221838"/>
                  <a:pt x="419576" y="221838"/>
                </a:cubicBezTo>
                <a:close/>
                <a:moveTo>
                  <a:pt x="737711" y="198137"/>
                </a:moveTo>
                <a:cubicBezTo>
                  <a:pt x="776287" y="198137"/>
                  <a:pt x="807720" y="229422"/>
                  <a:pt x="807720" y="267817"/>
                </a:cubicBezTo>
                <a:cubicBezTo>
                  <a:pt x="807720" y="306212"/>
                  <a:pt x="776287" y="337497"/>
                  <a:pt x="737711" y="337497"/>
                </a:cubicBezTo>
                <a:cubicBezTo>
                  <a:pt x="699135" y="337497"/>
                  <a:pt x="667702" y="306212"/>
                  <a:pt x="667702" y="267817"/>
                </a:cubicBezTo>
                <a:cubicBezTo>
                  <a:pt x="667702" y="229422"/>
                  <a:pt x="699135" y="198137"/>
                  <a:pt x="737711" y="198137"/>
                </a:cubicBezTo>
                <a:close/>
                <a:moveTo>
                  <a:pt x="419576" y="198137"/>
                </a:moveTo>
                <a:cubicBezTo>
                  <a:pt x="458152" y="198137"/>
                  <a:pt x="489585" y="229422"/>
                  <a:pt x="489585" y="267817"/>
                </a:cubicBezTo>
                <a:cubicBezTo>
                  <a:pt x="489585" y="306212"/>
                  <a:pt x="458152" y="337497"/>
                  <a:pt x="419576" y="337497"/>
                </a:cubicBezTo>
                <a:cubicBezTo>
                  <a:pt x="380999" y="337497"/>
                  <a:pt x="349567" y="306212"/>
                  <a:pt x="349567" y="267817"/>
                </a:cubicBezTo>
                <a:cubicBezTo>
                  <a:pt x="349567" y="229422"/>
                  <a:pt x="380999" y="198137"/>
                  <a:pt x="419576" y="198137"/>
                </a:cubicBezTo>
                <a:close/>
                <a:moveTo>
                  <a:pt x="1070133" y="186572"/>
                </a:moveTo>
                <a:lnTo>
                  <a:pt x="1070133" y="488518"/>
                </a:lnTo>
                <a:lnTo>
                  <a:pt x="1091469" y="488518"/>
                </a:lnTo>
                <a:lnTo>
                  <a:pt x="1091469" y="488519"/>
                </a:lnTo>
                <a:lnTo>
                  <a:pt x="1158716" y="488519"/>
                </a:lnTo>
                <a:lnTo>
                  <a:pt x="1158716" y="186572"/>
                </a:lnTo>
                <a:cubicBezTo>
                  <a:pt x="1158716" y="186572"/>
                  <a:pt x="1102191" y="186572"/>
                  <a:pt x="1073929" y="186572"/>
                </a:cubicBezTo>
                <a:close/>
                <a:moveTo>
                  <a:pt x="23813" y="186477"/>
                </a:moveTo>
                <a:lnTo>
                  <a:pt x="23813" y="488424"/>
                </a:lnTo>
                <a:cubicBezTo>
                  <a:pt x="23813" y="488424"/>
                  <a:pt x="80337" y="488424"/>
                  <a:pt x="108600" y="488424"/>
                </a:cubicBezTo>
                <a:lnTo>
                  <a:pt x="110013" y="488424"/>
                </a:lnTo>
                <a:lnTo>
                  <a:pt x="110013" y="186477"/>
                </a:lnTo>
                <a:lnTo>
                  <a:pt x="91059" y="186477"/>
                </a:lnTo>
                <a:close/>
                <a:moveTo>
                  <a:pt x="140969" y="23701"/>
                </a:moveTo>
                <a:cubicBezTo>
                  <a:pt x="137064" y="23701"/>
                  <a:pt x="133826" y="26924"/>
                  <a:pt x="133826" y="30811"/>
                </a:cubicBezTo>
                <a:lnTo>
                  <a:pt x="133826" y="644185"/>
                </a:lnTo>
                <a:cubicBezTo>
                  <a:pt x="133826" y="648072"/>
                  <a:pt x="137064" y="651295"/>
                  <a:pt x="140969" y="651295"/>
                </a:cubicBezTo>
                <a:lnTo>
                  <a:pt x="282416" y="651295"/>
                </a:lnTo>
                <a:lnTo>
                  <a:pt x="846772" y="651295"/>
                </a:lnTo>
                <a:lnTo>
                  <a:pt x="1039177" y="651295"/>
                </a:lnTo>
                <a:cubicBezTo>
                  <a:pt x="1043082" y="651295"/>
                  <a:pt x="1046321" y="648072"/>
                  <a:pt x="1046321" y="644185"/>
                </a:cubicBezTo>
                <a:lnTo>
                  <a:pt x="1046321" y="30811"/>
                </a:lnTo>
                <a:cubicBezTo>
                  <a:pt x="1046321" y="26924"/>
                  <a:pt x="1043082" y="23701"/>
                  <a:pt x="1039177" y="23701"/>
                </a:cubicBezTo>
                <a:lnTo>
                  <a:pt x="846772" y="23701"/>
                </a:lnTo>
                <a:close/>
                <a:moveTo>
                  <a:pt x="140969" y="0"/>
                </a:moveTo>
                <a:lnTo>
                  <a:pt x="846772" y="0"/>
                </a:lnTo>
                <a:lnTo>
                  <a:pt x="1039177" y="0"/>
                </a:lnTo>
                <a:cubicBezTo>
                  <a:pt x="1056227" y="0"/>
                  <a:pt x="1070133" y="13841"/>
                  <a:pt x="1070133" y="30811"/>
                </a:cubicBezTo>
                <a:lnTo>
                  <a:pt x="1070133" y="162871"/>
                </a:lnTo>
                <a:lnTo>
                  <a:pt x="1163478" y="162871"/>
                </a:lnTo>
                <a:cubicBezTo>
                  <a:pt x="1174146" y="162871"/>
                  <a:pt x="1182528" y="172256"/>
                  <a:pt x="1182528" y="184202"/>
                </a:cubicBezTo>
                <a:lnTo>
                  <a:pt x="1182528" y="490889"/>
                </a:lnTo>
                <a:cubicBezTo>
                  <a:pt x="1182528" y="502834"/>
                  <a:pt x="1174146" y="512219"/>
                  <a:pt x="1163478" y="512219"/>
                </a:cubicBezTo>
                <a:lnTo>
                  <a:pt x="1091469" y="512219"/>
                </a:lnTo>
                <a:lnTo>
                  <a:pt x="1070133" y="512219"/>
                </a:lnTo>
                <a:lnTo>
                  <a:pt x="1070133" y="644185"/>
                </a:lnTo>
                <a:cubicBezTo>
                  <a:pt x="1070133" y="661155"/>
                  <a:pt x="1056227" y="674996"/>
                  <a:pt x="1039177" y="674996"/>
                </a:cubicBezTo>
                <a:lnTo>
                  <a:pt x="846772" y="674996"/>
                </a:lnTo>
                <a:lnTo>
                  <a:pt x="282416" y="674996"/>
                </a:lnTo>
                <a:lnTo>
                  <a:pt x="140969" y="674996"/>
                </a:lnTo>
                <a:cubicBezTo>
                  <a:pt x="123920" y="674996"/>
                  <a:pt x="110013" y="661155"/>
                  <a:pt x="110013" y="644185"/>
                </a:cubicBezTo>
                <a:lnTo>
                  <a:pt x="110013" y="512219"/>
                </a:lnTo>
                <a:lnTo>
                  <a:pt x="19050" y="512219"/>
                </a:lnTo>
                <a:cubicBezTo>
                  <a:pt x="8382" y="512219"/>
                  <a:pt x="0" y="502834"/>
                  <a:pt x="0" y="490889"/>
                </a:cubicBezTo>
                <a:lnTo>
                  <a:pt x="0" y="184107"/>
                </a:lnTo>
                <a:cubicBezTo>
                  <a:pt x="0" y="172161"/>
                  <a:pt x="8382" y="162776"/>
                  <a:pt x="19050" y="162776"/>
                </a:cubicBezTo>
                <a:lnTo>
                  <a:pt x="91059" y="162776"/>
                </a:lnTo>
                <a:lnTo>
                  <a:pt x="110013" y="162776"/>
                </a:lnTo>
                <a:lnTo>
                  <a:pt x="110013" y="30811"/>
                </a:lnTo>
                <a:cubicBezTo>
                  <a:pt x="110013" y="13841"/>
                  <a:pt x="123920" y="0"/>
                  <a:pt x="140969" y="0"/>
                </a:cubicBezTo>
                <a:close/>
              </a:path>
            </a:pathLst>
          </a:custGeom>
          <a:gradFill>
            <a:gsLst>
              <a:gs pos="0">
                <a:srgbClr val="FF794C"/>
              </a:gs>
              <a:gs pos="100000">
                <a:srgbClr val="A435FD"/>
              </a:gs>
              <a:gs pos="33000">
                <a:srgbClr val="FE5A85"/>
              </a:gs>
              <a:gs pos="70000">
                <a:srgbClr val="EC1AEC"/>
              </a:gs>
            </a:gsLst>
            <a:lin ang="2700000" scaled="0"/>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endParaRPr>
          </a:p>
        </p:txBody>
      </p:sp>
    </p:spTree>
    <p:extLst>
      <p:ext uri="{BB962C8B-B14F-4D97-AF65-F5344CB8AC3E}">
        <p14:creationId xmlns:p14="http://schemas.microsoft.com/office/powerpoint/2010/main" val="125192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B50FF0-7433-47E3-9DBD-10E2AC09C59C}"/>
              </a:ext>
            </a:extLst>
          </p:cNvPr>
          <p:cNvSpPr>
            <a:spLocks noGrp="1"/>
          </p:cNvSpPr>
          <p:nvPr>
            <p:ph type="title"/>
          </p:nvPr>
        </p:nvSpPr>
        <p:spPr/>
        <p:txBody>
          <a:bodyPr/>
          <a:lstStyle/>
          <a:p>
            <a:endParaRPr lang="en-US"/>
          </a:p>
        </p:txBody>
      </p:sp>
      <p:sp>
        <p:nvSpPr>
          <p:cNvPr id="12" name="TextBox 11">
            <a:extLst>
              <a:ext uri="{FF2B5EF4-FFF2-40B4-BE49-F238E27FC236}">
                <a16:creationId xmlns:a16="http://schemas.microsoft.com/office/drawing/2014/main" id="{0E281C4F-24C3-4FF0-B75C-26484DD8D1BB}"/>
              </a:ext>
            </a:extLst>
          </p:cNvPr>
          <p:cNvSpPr txBox="1"/>
          <p:nvPr/>
        </p:nvSpPr>
        <p:spPr>
          <a:xfrm>
            <a:off x="832338" y="457739"/>
            <a:ext cx="10515342" cy="1232645"/>
          </a:xfrm>
          <a:prstGeom prst="rect">
            <a:avLst/>
          </a:prstGeom>
          <a:noFill/>
        </p:spPr>
        <p:txBody>
          <a:bodyPr wrap="square" lIns="0" tIns="0" rIns="0" bIns="0" anchor="b">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5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Technology advancements make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5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I agents practical for </a:t>
            </a:r>
            <a:r>
              <a:rPr lang="en-US" sz="445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pace Applications</a:t>
            </a:r>
            <a:endParaRPr kumimoji="0" lang="en-US" sz="445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p:txBody>
      </p:sp>
      <p:grpSp>
        <p:nvGrpSpPr>
          <p:cNvPr id="13" name="Group 12">
            <a:extLst>
              <a:ext uri="{FF2B5EF4-FFF2-40B4-BE49-F238E27FC236}">
                <a16:creationId xmlns:a16="http://schemas.microsoft.com/office/drawing/2014/main" id="{42CFFAFF-B66A-4374-85A5-B895B936EF30}"/>
              </a:ext>
            </a:extLst>
          </p:cNvPr>
          <p:cNvGrpSpPr/>
          <p:nvPr/>
        </p:nvGrpSpPr>
        <p:grpSpPr>
          <a:xfrm>
            <a:off x="1126548" y="2293644"/>
            <a:ext cx="3946889" cy="3064811"/>
            <a:chOff x="1567901" y="2103734"/>
            <a:chExt cx="3158472" cy="2452595"/>
          </a:xfrm>
        </p:grpSpPr>
        <p:sp>
          <p:nvSpPr>
            <p:cNvPr id="14" name="Rounded Rectangle 10">
              <a:extLst>
                <a:ext uri="{FF2B5EF4-FFF2-40B4-BE49-F238E27FC236}">
                  <a16:creationId xmlns:a16="http://schemas.microsoft.com/office/drawing/2014/main" id="{0C15FC59-9DB4-4E10-89A8-8713B6DF8155}"/>
                </a:ext>
              </a:extLst>
            </p:cNvPr>
            <p:cNvSpPr/>
            <p:nvPr/>
          </p:nvSpPr>
          <p:spPr>
            <a:xfrm>
              <a:off x="1567901" y="3429000"/>
              <a:ext cx="3158472" cy="464696"/>
            </a:xfrm>
            <a:prstGeom prst="roundRect">
              <a:avLst>
                <a:gd name="adj" fmla="val 50000"/>
              </a:avLst>
            </a:prstGeom>
            <a:solidFill>
              <a:srgbClr val="EB1BEC"/>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ecure data infrastructure</a:t>
              </a:r>
            </a:p>
          </p:txBody>
        </p:sp>
        <p:sp>
          <p:nvSpPr>
            <p:cNvPr id="15" name="Rounded Rectangle 12">
              <a:extLst>
                <a:ext uri="{FF2B5EF4-FFF2-40B4-BE49-F238E27FC236}">
                  <a16:creationId xmlns:a16="http://schemas.microsoft.com/office/drawing/2014/main" id="{C0EAD795-5734-43D2-80A2-685BA47C43F9}"/>
                </a:ext>
              </a:extLst>
            </p:cNvPr>
            <p:cNvSpPr/>
            <p:nvPr/>
          </p:nvSpPr>
          <p:spPr>
            <a:xfrm>
              <a:off x="1567901" y="2766367"/>
              <a:ext cx="3158472" cy="464696"/>
            </a:xfrm>
            <a:prstGeom prst="roundRect">
              <a:avLst>
                <a:gd name="adj" fmla="val 50000"/>
              </a:avLst>
            </a:prstGeom>
            <a:solidFill>
              <a:srgbClr val="FE5B8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calability and cost-effectiveness</a:t>
              </a:r>
            </a:p>
          </p:txBody>
        </p:sp>
        <p:sp>
          <p:nvSpPr>
            <p:cNvPr id="16" name="Rounded Rectangle 13">
              <a:extLst>
                <a:ext uri="{FF2B5EF4-FFF2-40B4-BE49-F238E27FC236}">
                  <a16:creationId xmlns:a16="http://schemas.microsoft.com/office/drawing/2014/main" id="{38B0882E-9735-43DD-8C24-54EC364CE688}"/>
                </a:ext>
              </a:extLst>
            </p:cNvPr>
            <p:cNvSpPr/>
            <p:nvPr/>
          </p:nvSpPr>
          <p:spPr>
            <a:xfrm>
              <a:off x="1567901" y="2103734"/>
              <a:ext cx="3158472" cy="464696"/>
            </a:xfrm>
            <a:prstGeom prst="roundRect">
              <a:avLst>
                <a:gd name="adj" fmla="val 50000"/>
              </a:avLst>
            </a:prstGeom>
            <a:solidFill>
              <a:srgbClr val="FE794C"/>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Model reasoning capabilities</a:t>
              </a:r>
            </a:p>
          </p:txBody>
        </p:sp>
        <p:sp>
          <p:nvSpPr>
            <p:cNvPr id="17" name="Rounded Rectangle 14">
              <a:extLst>
                <a:ext uri="{FF2B5EF4-FFF2-40B4-BE49-F238E27FC236}">
                  <a16:creationId xmlns:a16="http://schemas.microsoft.com/office/drawing/2014/main" id="{EF30B932-C5E8-4B8B-BA42-CCAC0489C923}"/>
                </a:ext>
              </a:extLst>
            </p:cNvPr>
            <p:cNvSpPr/>
            <p:nvPr/>
          </p:nvSpPr>
          <p:spPr>
            <a:xfrm>
              <a:off x="1567901" y="4091633"/>
              <a:ext cx="3158472" cy="464696"/>
            </a:xfrm>
            <a:prstGeom prst="roundRect">
              <a:avLst>
                <a:gd name="adj" fmla="val 50000"/>
              </a:avLst>
            </a:prstGeom>
            <a:solidFill>
              <a:srgbClr val="A43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Development tools</a:t>
              </a:r>
            </a:p>
          </p:txBody>
        </p:sp>
      </p:grpSp>
      <p:pic>
        <p:nvPicPr>
          <p:cNvPr id="18" name="Picture 17">
            <a:extLst>
              <a:ext uri="{FF2B5EF4-FFF2-40B4-BE49-F238E27FC236}">
                <a16:creationId xmlns:a16="http://schemas.microsoft.com/office/drawing/2014/main" id="{616D0983-8F07-4BC0-9FC4-FDB0FD29B04A}"/>
              </a:ext>
            </a:extLst>
          </p:cNvPr>
          <p:cNvPicPr>
            <a:picLocks noChangeAspect="1"/>
          </p:cNvPicPr>
          <p:nvPr/>
        </p:nvPicPr>
        <p:blipFill>
          <a:blip r:embed="rId3"/>
          <a:stretch>
            <a:fillRect/>
          </a:stretch>
        </p:blipFill>
        <p:spPr>
          <a:xfrm>
            <a:off x="5073437" y="2590725"/>
            <a:ext cx="3946889" cy="2470650"/>
          </a:xfrm>
          <a:prstGeom prst="rect">
            <a:avLst/>
          </a:prstGeom>
        </p:spPr>
      </p:pic>
      <p:sp>
        <p:nvSpPr>
          <p:cNvPr id="19" name="Oval 18">
            <a:extLst>
              <a:ext uri="{FF2B5EF4-FFF2-40B4-BE49-F238E27FC236}">
                <a16:creationId xmlns:a16="http://schemas.microsoft.com/office/drawing/2014/main" id="{E338129C-FB9E-457C-9D9D-56886BF7A235}"/>
              </a:ext>
            </a:extLst>
          </p:cNvPr>
          <p:cNvSpPr/>
          <p:nvPr/>
        </p:nvSpPr>
        <p:spPr>
          <a:xfrm>
            <a:off x="8800727" y="2999749"/>
            <a:ext cx="1622710" cy="1622710"/>
          </a:xfrm>
          <a:prstGeom prst="ellipse">
            <a:avLst/>
          </a:prstGeom>
          <a:gradFill flip="none" rotWithShape="1">
            <a:gsLst>
              <a:gs pos="0">
                <a:srgbClr val="FF794C"/>
              </a:gs>
              <a:gs pos="100000">
                <a:srgbClr val="A435FD"/>
              </a:gs>
              <a:gs pos="33000">
                <a:srgbClr val="FE5A85"/>
              </a:gs>
              <a:gs pos="70000">
                <a:srgbClr val="EC1AEC"/>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latin typeface="Amazon Ember Mono" panose="020B0509020204020204" pitchFamily="49" charset="0"/>
              <a:ea typeface="Amazon Ember Mono" panose="020B0509020204020204" pitchFamily="49" charset="0"/>
              <a:cs typeface="Amazon Ember Mono" panose="020B0509020204020204" pitchFamily="49" charset="0"/>
            </a:endParaRPr>
          </a:p>
        </p:txBody>
      </p:sp>
      <p:pic>
        <p:nvPicPr>
          <p:cNvPr id="20" name="Picture 2" descr="Artificial intelligence head icon vector, AI icon vector design, used in Ai Concepts, artificial ...">
            <a:extLst>
              <a:ext uri="{FF2B5EF4-FFF2-40B4-BE49-F238E27FC236}">
                <a16:creationId xmlns:a16="http://schemas.microsoft.com/office/drawing/2014/main" id="{766CC8D5-7002-45C7-8C76-91171949F5D6}"/>
              </a:ext>
            </a:extLst>
          </p:cNvPr>
          <p:cNvPicPr>
            <a:picLocks noChangeAspect="1" noChangeArrowheads="1"/>
          </p:cNvPicPr>
          <p:nvPr/>
        </p:nvPicPr>
        <p:blipFill>
          <a:blip r:embed="rId4">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874060" y="3050048"/>
            <a:ext cx="1480367" cy="1480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73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par>
                                <p:cTn id="8" presetID="42" presetClass="path" presetSubtype="0" decel="100000" fill="hold" nodeType="withEffect">
                                  <p:stCondLst>
                                    <p:cond delay="200"/>
                                  </p:stCondLst>
                                  <p:childTnLst>
                                    <p:animMotion origin="layout" path="M -0.01719 -0.00023 L -1.25E-6 1.85185E-6 " pathEditMode="relative" rAng="0" ptsTypes="AA">
                                      <p:cBhvr>
                                        <p:cTn id="9" dur="1000" fill="hold"/>
                                        <p:tgtEl>
                                          <p:spTgt spid="13"/>
                                        </p:tgtEl>
                                        <p:attrNameLst>
                                          <p:attrName>ppt_x</p:attrName>
                                          <p:attrName>ppt_y</p:attrName>
                                        </p:attrNameLst>
                                      </p:cBhvr>
                                      <p:rCtr x="859" y="0"/>
                                    </p:animMotion>
                                  </p:childTnLst>
                                </p:cTn>
                              </p:par>
                              <p:par>
                                <p:cTn id="10" presetID="10" presetClass="entr" presetSubtype="0" fill="hold" nodeType="withEffect">
                                  <p:stCondLst>
                                    <p:cond delay="6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childTnLst>
                                </p:cTn>
                              </p:par>
                              <p:par>
                                <p:cTn id="13" presetID="42" presetClass="path" presetSubtype="0" decel="100000" fill="hold" nodeType="withEffect">
                                  <p:stCondLst>
                                    <p:cond delay="600"/>
                                  </p:stCondLst>
                                  <p:childTnLst>
                                    <p:animMotion origin="layout" path="M -0.01719 -0.00023 L -1.25E-6 1.85185E-6 " pathEditMode="relative" rAng="0" ptsTypes="AA">
                                      <p:cBhvr>
                                        <p:cTn id="14" dur="1000" fill="hold"/>
                                        <p:tgtEl>
                                          <p:spTgt spid="18"/>
                                        </p:tgtEl>
                                        <p:attrNameLst>
                                          <p:attrName>ppt_x</p:attrName>
                                          <p:attrName>ppt_y</p:attrName>
                                        </p:attrNameLst>
                                      </p:cBhvr>
                                      <p:rCtr x="859" y="0"/>
                                    </p:animMotion>
                                  </p:childTnLst>
                                </p:cTn>
                              </p:par>
                              <p:par>
                                <p:cTn id="15" presetID="10" presetClass="entr" presetSubtype="0" fill="hold" grpId="0" nodeType="withEffect">
                                  <p:stCondLst>
                                    <p:cond delay="8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childTnLst>
                                </p:cTn>
                              </p:par>
                              <p:par>
                                <p:cTn id="18" presetID="42" presetClass="path" presetSubtype="0" decel="100000" fill="hold" grpId="1" nodeType="withEffect">
                                  <p:stCondLst>
                                    <p:cond delay="800"/>
                                  </p:stCondLst>
                                  <p:childTnLst>
                                    <p:animMotion origin="layout" path="M -0.01719 -0.00023 L -1.25E-6 1.85185E-6 " pathEditMode="relative" rAng="0" ptsTypes="AA">
                                      <p:cBhvr>
                                        <p:cTn id="19" dur="1000" fill="hold"/>
                                        <p:tgtEl>
                                          <p:spTgt spid="19"/>
                                        </p:tgtEl>
                                        <p:attrNameLst>
                                          <p:attrName>ppt_x</p:attrName>
                                          <p:attrName>ppt_y</p:attrName>
                                        </p:attrNameLst>
                                      </p:cBhvr>
                                      <p:rCtr x="859" y="0"/>
                                    </p:animMotion>
                                  </p:childTnLst>
                                </p:cTn>
                              </p:par>
                              <p:par>
                                <p:cTn id="20" presetID="10" presetClass="entr" presetSubtype="0" fill="hold" nodeType="withEffect">
                                  <p:stCondLst>
                                    <p:cond delay="8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childTnLst>
                                </p:cTn>
                              </p:par>
                              <p:par>
                                <p:cTn id="23" presetID="42" presetClass="path" presetSubtype="0" decel="100000" fill="hold" nodeType="withEffect">
                                  <p:stCondLst>
                                    <p:cond delay="800"/>
                                  </p:stCondLst>
                                  <p:childTnLst>
                                    <p:animMotion origin="layout" path="M -0.01719 -0.00023 L -1.25E-6 1.85185E-6 " pathEditMode="relative" rAng="0" ptsTypes="AA">
                                      <p:cBhvr>
                                        <p:cTn id="24" dur="1000" fill="hold"/>
                                        <p:tgtEl>
                                          <p:spTgt spid="20"/>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6A614-11F8-66FC-754B-A343C5056DCA}"/>
              </a:ext>
            </a:extLst>
          </p:cNvPr>
          <p:cNvSpPr>
            <a:spLocks noGrp="1"/>
          </p:cNvSpPr>
          <p:nvPr>
            <p:ph type="ctrTitle"/>
          </p:nvPr>
        </p:nvSpPr>
        <p:spPr>
          <a:xfrm>
            <a:off x="540000" y="1426747"/>
            <a:ext cx="6168297" cy="1809750"/>
          </a:xfrm>
        </p:spPr>
        <p:txBody>
          <a:bodyPr/>
          <a:lstStyle/>
          <a:p>
            <a:r>
              <a:rPr lang="en-US" dirty="0">
                <a:latin typeface="+mj-lt"/>
              </a:rPr>
              <a:t>Your Space Partner</a:t>
            </a:r>
            <a:br>
              <a:rPr lang="en-US" dirty="0">
                <a:latin typeface="+mj-lt"/>
              </a:rPr>
            </a:br>
            <a:endParaRPr lang="en-US" dirty="0">
              <a:latin typeface="+mj-lt"/>
            </a:endParaRPr>
          </a:p>
        </p:txBody>
      </p:sp>
      <p:sp>
        <p:nvSpPr>
          <p:cNvPr id="4" name="Subtitle 9">
            <a:extLst>
              <a:ext uri="{FF2B5EF4-FFF2-40B4-BE49-F238E27FC236}">
                <a16:creationId xmlns:a16="http://schemas.microsoft.com/office/drawing/2014/main" id="{64C674A4-1273-5ABD-1C6E-53D261DEBF2B}"/>
              </a:ext>
            </a:extLst>
          </p:cNvPr>
          <p:cNvSpPr txBox="1">
            <a:spLocks/>
          </p:cNvSpPr>
          <p:nvPr/>
        </p:nvSpPr>
        <p:spPr>
          <a:xfrm>
            <a:off x="480267" y="2598638"/>
            <a:ext cx="5366860" cy="434112"/>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lang="en-GB" sz="2400" b="1" kern="1200" smtClean="0">
                <a:solidFill>
                  <a:schemeClr val="accent3"/>
                </a:solidFill>
                <a:effectLst/>
                <a:latin typeface="+mn-lt"/>
                <a:ea typeface="+mn-ea"/>
                <a:cs typeface="+mn-cs"/>
              </a:defRPr>
            </a:lvl1pPr>
            <a:lvl2pPr marL="0" indent="0" algn="l" defTabSz="914400" rtl="0" eaLnBrk="1" latinLnBrk="0" hangingPunct="1">
              <a:lnSpc>
                <a:spcPct val="105000"/>
              </a:lnSpc>
              <a:spcBef>
                <a:spcPts val="500"/>
              </a:spcBef>
              <a:buFont typeface="Arial" panose="020B0604020202020204" pitchFamily="34" charset="0"/>
              <a:buNone/>
              <a:tabLst/>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1200"/>
              </a:spcBef>
              <a:buClr>
                <a:schemeClr val="accent3"/>
              </a:buClr>
              <a:buFont typeface="Arial" panose="020B0604020202020204" pitchFamily="34" charset="0"/>
              <a:buChar char="•"/>
              <a:tabLst/>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1000"/>
              </a:spcBef>
              <a:buClr>
                <a:schemeClr val="accent3"/>
              </a:buClr>
              <a:buFont typeface="System Font Regular"/>
              <a:buChar char="–"/>
              <a:tabLst/>
              <a:defRPr sz="1400" kern="1200">
                <a:solidFill>
                  <a:schemeClr val="tx1"/>
                </a:solidFill>
                <a:latin typeface="+mn-lt"/>
                <a:ea typeface="+mn-ea"/>
                <a:cs typeface="+mn-cs"/>
              </a:defRPr>
            </a:lvl4pPr>
            <a:lvl5pPr marL="504000" indent="-144000" algn="l" defTabSz="914400" rtl="0" eaLnBrk="1" latinLnBrk="0" hangingPunct="1">
              <a:lnSpc>
                <a:spcPct val="100000"/>
              </a:lnSpc>
              <a:spcBef>
                <a:spcPts val="1000"/>
              </a:spcBef>
              <a:buClr>
                <a:schemeClr val="accent3"/>
              </a:buClr>
              <a:buFont typeface="System Font Regular"/>
              <a:buChar char="&gt;"/>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0" dirty="0">
                <a:solidFill>
                  <a:schemeClr val="bg1"/>
                </a:solidFill>
              </a:rPr>
              <a:t>Delivering secure end-to-end global comms</a:t>
            </a:r>
          </a:p>
          <a:p>
            <a:r>
              <a:rPr lang="en-US" sz="2000" b="0" dirty="0">
                <a:solidFill>
                  <a:schemeClr val="bg1"/>
                </a:solidFill>
              </a:rPr>
              <a:t>across every mission, landscape, and orbit.</a:t>
            </a:r>
          </a:p>
        </p:txBody>
      </p:sp>
      <p:sp>
        <p:nvSpPr>
          <p:cNvPr id="3" name="Subtitle 9">
            <a:extLst>
              <a:ext uri="{FF2B5EF4-FFF2-40B4-BE49-F238E27FC236}">
                <a16:creationId xmlns:a16="http://schemas.microsoft.com/office/drawing/2014/main" id="{ACED1E93-8FEF-E609-6B28-AE840A03A22A}"/>
              </a:ext>
            </a:extLst>
          </p:cNvPr>
          <p:cNvSpPr txBox="1">
            <a:spLocks/>
          </p:cNvSpPr>
          <p:nvPr/>
        </p:nvSpPr>
        <p:spPr>
          <a:xfrm>
            <a:off x="480266" y="3315061"/>
            <a:ext cx="5689797" cy="434112"/>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lang="en-GB" sz="2400" b="1" kern="1200" smtClean="0">
                <a:solidFill>
                  <a:schemeClr val="accent3"/>
                </a:solidFill>
                <a:effectLst/>
                <a:latin typeface="+mn-lt"/>
                <a:ea typeface="+mn-ea"/>
                <a:cs typeface="+mn-cs"/>
              </a:defRPr>
            </a:lvl1pPr>
            <a:lvl2pPr marL="0" indent="0" algn="l" defTabSz="914400" rtl="0" eaLnBrk="1" latinLnBrk="0" hangingPunct="1">
              <a:lnSpc>
                <a:spcPct val="105000"/>
              </a:lnSpc>
              <a:spcBef>
                <a:spcPts val="500"/>
              </a:spcBef>
              <a:buFont typeface="Arial" panose="020B0604020202020204" pitchFamily="34" charset="0"/>
              <a:buNone/>
              <a:tabLst/>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1200"/>
              </a:spcBef>
              <a:buClr>
                <a:schemeClr val="accent3"/>
              </a:buClr>
              <a:buFont typeface="Arial" panose="020B0604020202020204" pitchFamily="34" charset="0"/>
              <a:buChar char="•"/>
              <a:tabLst/>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1000"/>
              </a:spcBef>
              <a:buClr>
                <a:schemeClr val="accent3"/>
              </a:buClr>
              <a:buFont typeface="System Font Regular"/>
              <a:buChar char="–"/>
              <a:tabLst/>
              <a:defRPr sz="1400" kern="1200">
                <a:solidFill>
                  <a:schemeClr val="tx1"/>
                </a:solidFill>
                <a:latin typeface="+mn-lt"/>
                <a:ea typeface="+mn-ea"/>
                <a:cs typeface="+mn-cs"/>
              </a:defRPr>
            </a:lvl4pPr>
            <a:lvl5pPr marL="504000" indent="-144000" algn="l" defTabSz="914400" rtl="0" eaLnBrk="1" latinLnBrk="0" hangingPunct="1">
              <a:lnSpc>
                <a:spcPct val="100000"/>
              </a:lnSpc>
              <a:spcBef>
                <a:spcPts val="1000"/>
              </a:spcBef>
              <a:buClr>
                <a:schemeClr val="accent3"/>
              </a:buClr>
              <a:buFont typeface="System Font Regular"/>
              <a:buChar char="&gt;"/>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0" i="1" dirty="0">
                <a:solidFill>
                  <a:schemeClr val="bg1"/>
                </a:solidFill>
              </a:rPr>
              <a:t>Leveraging AI to deliver differentiated SatCom assets</a:t>
            </a:r>
          </a:p>
        </p:txBody>
      </p:sp>
    </p:spTree>
    <p:extLst>
      <p:ext uri="{BB962C8B-B14F-4D97-AF65-F5344CB8AC3E}">
        <p14:creationId xmlns:p14="http://schemas.microsoft.com/office/powerpoint/2010/main" val="392521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000" fill="hold"/>
                                        <p:tgtEl>
                                          <p:spTgt spid="3"/>
                                        </p:tgtEl>
                                        <p:attrNameLst>
                                          <p:attrName>style.color</p:attrName>
                                        </p:attrNameLst>
                                      </p:cBhvr>
                                      <p:to>
                                        <a:schemeClr val="hlink"/>
                                      </p:to>
                                    </p:animClr>
                                  </p:childTnLst>
                                  <p:subTnLst>
                                    <p:animClr clrSpc="rgb" dir="cw">
                                      <p:cBhvr override="childStyle">
                                        <p:cTn dur="1" fill="hold" display="0" masterRel="nextClick" afterEffect="1"/>
                                        <p:tgtEl>
                                          <p:spTgt spid="3"/>
                                        </p:tgtEl>
                                        <p:attrNameLst>
                                          <p:attrName>ppt_c</p:attrName>
                                        </p:attrNameLst>
                                      </p:cBhvr>
                                      <p:to>
                                        <a:schemeClr va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CE1D24-CDE1-244A-A186-D14463BB3C24}"/>
              </a:ext>
            </a:extLst>
          </p:cNvPr>
          <p:cNvSpPr>
            <a:spLocks noGrp="1"/>
          </p:cNvSpPr>
          <p:nvPr>
            <p:ph type="body" sz="quarter" idx="13"/>
          </p:nvPr>
        </p:nvSpPr>
        <p:spPr/>
        <p:txBody>
          <a:bodyPr/>
          <a:lstStyle/>
          <a:p>
            <a:r>
              <a:rPr lang="en-US" dirty="0"/>
              <a:t>Opportunities to leverage AI to deliver the mission</a:t>
            </a:r>
          </a:p>
        </p:txBody>
      </p:sp>
      <p:sp>
        <p:nvSpPr>
          <p:cNvPr id="3" name="Title 2">
            <a:extLst>
              <a:ext uri="{FF2B5EF4-FFF2-40B4-BE49-F238E27FC236}">
                <a16:creationId xmlns:a16="http://schemas.microsoft.com/office/drawing/2014/main" id="{F3E472AA-C83C-508F-5BF9-9467331799D4}"/>
              </a:ext>
            </a:extLst>
          </p:cNvPr>
          <p:cNvSpPr>
            <a:spLocks noGrp="1"/>
          </p:cNvSpPr>
          <p:nvPr>
            <p:ph type="title"/>
          </p:nvPr>
        </p:nvSpPr>
        <p:spPr/>
        <p:txBody>
          <a:bodyPr/>
          <a:lstStyle/>
          <a:p>
            <a:r>
              <a:rPr lang="en-US" dirty="0"/>
              <a:t>Resilient &amp; Secure Global Communications</a:t>
            </a:r>
          </a:p>
        </p:txBody>
      </p:sp>
      <p:pic>
        <p:nvPicPr>
          <p:cNvPr id="10" name="Picture 9">
            <a:extLst>
              <a:ext uri="{FF2B5EF4-FFF2-40B4-BE49-F238E27FC236}">
                <a16:creationId xmlns:a16="http://schemas.microsoft.com/office/drawing/2014/main" id="{E498148B-14A9-B0E2-F799-5F03F921B26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3027212" y="1051612"/>
            <a:ext cx="6074169" cy="5806388"/>
          </a:xfrm>
          <a:prstGeom prst="rect">
            <a:avLst/>
          </a:prstGeom>
        </p:spPr>
      </p:pic>
      <p:sp>
        <p:nvSpPr>
          <p:cNvPr id="11" name="Content Placeholder 1">
            <a:extLst>
              <a:ext uri="{FF2B5EF4-FFF2-40B4-BE49-F238E27FC236}">
                <a16:creationId xmlns:a16="http://schemas.microsoft.com/office/drawing/2014/main" id="{34CD6DB0-E8E6-EE27-3F8A-D3FC260F1294}"/>
              </a:ext>
            </a:extLst>
          </p:cNvPr>
          <p:cNvSpPr txBox="1">
            <a:spLocks/>
          </p:cNvSpPr>
          <p:nvPr/>
        </p:nvSpPr>
        <p:spPr>
          <a:xfrm>
            <a:off x="8564128" y="3030545"/>
            <a:ext cx="3310193" cy="1518364"/>
          </a:xfrm>
          <a:prstGeom prst="rect">
            <a:avLst/>
          </a:prstGeom>
        </p:spPr>
        <p:txBody>
          <a:bodyPr wrap="square" lIns="0" tIns="0" rIns="0" bIns="0">
            <a:spAutoFit/>
          </a:bodyPr>
          <a:lstStyle>
            <a:lvl1pPr marL="251994" indent="-251994" algn="l" defTabSz="914377" rtl="0" eaLnBrk="1" latinLnBrk="0" hangingPunct="1">
              <a:lnSpc>
                <a:spcPct val="114000"/>
              </a:lnSpc>
              <a:spcBef>
                <a:spcPts val="0"/>
              </a:spcBef>
              <a:spcAft>
                <a:spcPts val="800"/>
              </a:spcAft>
              <a:buFont typeface="Wingdings 3" pitchFamily="18" charset="2"/>
              <a:buChar char=""/>
              <a:defRPr sz="1600" kern="1200">
                <a:solidFill>
                  <a:schemeClr val="tx1"/>
                </a:solidFill>
                <a:latin typeface="Arial" pitchFamily="34" charset="0"/>
                <a:ea typeface="+mn-ea"/>
                <a:cs typeface="Arial" pitchFamily="34" charset="0"/>
              </a:defRPr>
            </a:lvl1pPr>
            <a:lvl2pPr marL="449989" indent="-180970" algn="l" defTabSz="914377" rtl="0" eaLnBrk="1" latinLnBrk="0" hangingPunct="1">
              <a:lnSpc>
                <a:spcPct val="114000"/>
              </a:lnSpc>
              <a:spcBef>
                <a:spcPts val="0"/>
              </a:spcBef>
              <a:spcAft>
                <a:spcPts val="800"/>
              </a:spcAft>
              <a:buSzPct val="100000"/>
              <a:buFont typeface="Arial" pitchFamily="34" charset="0"/>
              <a:buChar char="•"/>
              <a:defRPr sz="1400" b="0" kern="1200">
                <a:solidFill>
                  <a:schemeClr val="tx1"/>
                </a:solidFill>
                <a:latin typeface="Arial" pitchFamily="34" charset="0"/>
                <a:ea typeface="+mn-ea"/>
                <a:cs typeface="Arial" pitchFamily="34" charset="0"/>
              </a:defRPr>
            </a:lvl2pPr>
            <a:lvl3pPr marL="629984" indent="-180970" algn="l" defTabSz="914377" rtl="0" eaLnBrk="1" latinLnBrk="0" hangingPunct="1">
              <a:lnSpc>
                <a:spcPct val="114000"/>
              </a:lnSpc>
              <a:spcBef>
                <a:spcPts val="0"/>
              </a:spcBef>
              <a:spcAft>
                <a:spcPts val="800"/>
              </a:spcAft>
              <a:buFont typeface="Verdana" pitchFamily="34" charset="0"/>
              <a:buChar char="-"/>
              <a:defRPr sz="1200" kern="1200">
                <a:solidFill>
                  <a:schemeClr val="tx1"/>
                </a:solidFill>
                <a:latin typeface="Arial" pitchFamily="34" charset="0"/>
                <a:ea typeface="+mn-ea"/>
                <a:cs typeface="Arial" pitchFamily="34" charset="0"/>
              </a:defRPr>
            </a:lvl3pPr>
            <a:lvl4pPr marL="827979" indent="-180970" algn="l" defTabSz="914377" rtl="0" eaLnBrk="1" latinLnBrk="0" hangingPunct="1">
              <a:lnSpc>
                <a:spcPct val="114000"/>
              </a:lnSpc>
              <a:spcBef>
                <a:spcPts val="0"/>
              </a:spcBef>
              <a:spcAft>
                <a:spcPts val="800"/>
              </a:spcAft>
              <a:buFont typeface="Calibri" pitchFamily="34" charset="0"/>
              <a:buChar char="-"/>
              <a:defRPr sz="1200" kern="1200">
                <a:solidFill>
                  <a:schemeClr val="tx1"/>
                </a:solidFill>
                <a:latin typeface="Arial" pitchFamily="34" charset="0"/>
                <a:ea typeface="+mn-ea"/>
                <a:cs typeface="Arial" pitchFamily="34" charset="0"/>
              </a:defRPr>
            </a:lvl4pPr>
            <a:lvl5pPr marL="1007975" indent="-179384" algn="l" defTabSz="914377" rtl="0" eaLnBrk="1" latinLnBrk="0" hangingPunct="1">
              <a:lnSpc>
                <a:spcPct val="114000"/>
              </a:lnSpc>
              <a:spcBef>
                <a:spcPts val="0"/>
              </a:spcBef>
              <a:spcAft>
                <a:spcPts val="800"/>
              </a:spcAft>
              <a:buFont typeface="Calibri" pitchFamily="34" charset="0"/>
              <a:buChar char="-"/>
              <a:defRPr sz="12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685800" fontAlgn="auto">
              <a:lnSpc>
                <a:spcPts val="1200"/>
              </a:lnSpc>
              <a:spcBef>
                <a:spcPts val="200"/>
              </a:spcBef>
              <a:spcAft>
                <a:spcPts val="200"/>
              </a:spcAft>
              <a:buClrTx/>
              <a:buSzTx/>
              <a:buNone/>
              <a:tabLst/>
              <a:defRPr/>
            </a:pPr>
            <a:r>
              <a:rPr lang="en-US" sz="1200" b="1" cap="all" spc="-40" dirty="0">
                <a:solidFill>
                  <a:schemeClr val="accent4"/>
                </a:solidFill>
                <a:latin typeface="+mn-lt"/>
                <a:cs typeface="+mn-cs"/>
              </a:rPr>
              <a:t>Secure and Highly Resilient </a:t>
            </a:r>
            <a:br>
              <a:rPr lang="en-US" sz="1200" b="1" cap="all" spc="-40" dirty="0">
                <a:solidFill>
                  <a:schemeClr val="accent4"/>
                </a:solidFill>
                <a:latin typeface="+mn-lt"/>
                <a:cs typeface="+mn-cs"/>
              </a:rPr>
            </a:br>
            <a:r>
              <a:rPr lang="en-US" sz="1200" b="1" cap="all" spc="-40" dirty="0">
                <a:solidFill>
                  <a:schemeClr val="accent4"/>
                </a:solidFill>
                <a:latin typeface="+mn-lt"/>
                <a:cs typeface="+mn-cs"/>
              </a:rPr>
              <a:t>Global Terrestrial Network</a:t>
            </a:r>
          </a:p>
          <a:p>
            <a:pPr defTabSz="914354">
              <a:lnSpc>
                <a:spcPct val="100000"/>
              </a:lnSpc>
              <a:spcBef>
                <a:spcPts val="200"/>
              </a:spcBef>
              <a:spcAft>
                <a:spcPts val="200"/>
              </a:spcAft>
              <a:buFont typeface="Arial" panose="020B0604020202020204" pitchFamily="34" charset="0"/>
              <a:buChar char="•"/>
              <a:defRPr/>
            </a:pPr>
            <a:r>
              <a:rPr lang="en-US" sz="1200" dirty="0">
                <a:solidFill>
                  <a:schemeClr val="bg1"/>
                </a:solidFill>
                <a:latin typeface="+mn-lt"/>
              </a:rPr>
              <a:t>Redundant and self-healing fiber-optic backbone connecting core nodes and customer networks to teleports, data-centers, cloud services, gateways, and the internet.</a:t>
            </a:r>
          </a:p>
          <a:p>
            <a:pPr defTabSz="914354">
              <a:lnSpc>
                <a:spcPct val="100000"/>
              </a:lnSpc>
              <a:spcBef>
                <a:spcPts val="200"/>
              </a:spcBef>
              <a:spcAft>
                <a:spcPts val="200"/>
              </a:spcAft>
              <a:buFont typeface="Arial" panose="020B0604020202020204" pitchFamily="34" charset="0"/>
              <a:buChar char="•"/>
              <a:defRPr/>
            </a:pPr>
            <a:r>
              <a:rPr lang="en-US" sz="1200" dirty="0">
                <a:solidFill>
                  <a:schemeClr val="bg1"/>
                </a:solidFill>
                <a:latin typeface="+mn-lt"/>
              </a:rPr>
              <a:t>RMF-authorized for high availability and dedicated for U.S. government operations</a:t>
            </a:r>
          </a:p>
        </p:txBody>
      </p:sp>
      <p:sp>
        <p:nvSpPr>
          <p:cNvPr id="12" name="TextBox 11">
            <a:extLst>
              <a:ext uri="{FF2B5EF4-FFF2-40B4-BE49-F238E27FC236}">
                <a16:creationId xmlns:a16="http://schemas.microsoft.com/office/drawing/2014/main" id="{FDFDDADA-9FD4-39FA-3492-39DBA32C8AD8}"/>
              </a:ext>
            </a:extLst>
          </p:cNvPr>
          <p:cNvSpPr txBox="1"/>
          <p:nvPr/>
        </p:nvSpPr>
        <p:spPr>
          <a:xfrm>
            <a:off x="539999" y="1395286"/>
            <a:ext cx="3024468" cy="1790234"/>
          </a:xfrm>
          <a:prstGeom prst="rect">
            <a:avLst/>
          </a:prstGeom>
        </p:spPr>
        <p:txBody>
          <a:bodyPr vert="horz" wrap="square" lIns="0" tIns="0" rIns="0" bIns="0" rtlCol="0">
            <a:spAutoFit/>
          </a:bodyPr>
          <a:lstStyle/>
          <a:p>
            <a:pPr marL="0" indent="0">
              <a:buNone/>
            </a:pPr>
            <a:r>
              <a:rPr lang="en-GB" sz="1200" b="1" dirty="0">
                <a:solidFill>
                  <a:schemeClr val="accent4"/>
                </a:solidFill>
              </a:rPr>
              <a:t>AGNOSTIC INTEGRATION</a:t>
            </a:r>
          </a:p>
          <a:p>
            <a:pPr marL="171450" marR="0" lvl="0" indent="-171450" algn="l" defTabSz="914354"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End-to-end global comms meeting the most stringent requirements, enhanced through vendor agnostic integration.</a:t>
            </a:r>
          </a:p>
          <a:p>
            <a:pPr marL="171450" marR="0" lvl="0" indent="-171450" algn="l" defTabSz="914354"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Multi-band, multi-orbit, and multi-operator SATCOM integration </a:t>
            </a:r>
          </a:p>
          <a:p>
            <a:pPr marL="171450" marR="0" lvl="0" indent="-171450" algn="l" defTabSz="914354"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From legacy to state-of-the-art, all types of terminals are integrated to provide resilient and flexible access</a:t>
            </a:r>
          </a:p>
        </p:txBody>
      </p:sp>
      <p:sp>
        <p:nvSpPr>
          <p:cNvPr id="13" name="Content Placeholder 1">
            <a:extLst>
              <a:ext uri="{FF2B5EF4-FFF2-40B4-BE49-F238E27FC236}">
                <a16:creationId xmlns:a16="http://schemas.microsoft.com/office/drawing/2014/main" id="{7C38333C-6087-57F9-DB85-E25FE34B77EF}"/>
              </a:ext>
            </a:extLst>
          </p:cNvPr>
          <p:cNvSpPr txBox="1">
            <a:spLocks/>
          </p:cNvSpPr>
          <p:nvPr/>
        </p:nvSpPr>
        <p:spPr>
          <a:xfrm>
            <a:off x="539999" y="3784019"/>
            <a:ext cx="3379471" cy="2072362"/>
          </a:xfrm>
          <a:prstGeom prst="rect">
            <a:avLst/>
          </a:prstGeom>
        </p:spPr>
        <p:txBody>
          <a:bodyPr wrap="square" lIns="0" tIns="0" rIns="0" bIns="0">
            <a:spAutoFit/>
          </a:bodyPr>
          <a:lstStyle>
            <a:lvl1pPr marL="251994" indent="-251994" algn="l" defTabSz="914377" rtl="0" eaLnBrk="1" latinLnBrk="0" hangingPunct="1">
              <a:lnSpc>
                <a:spcPct val="114000"/>
              </a:lnSpc>
              <a:spcBef>
                <a:spcPts val="0"/>
              </a:spcBef>
              <a:spcAft>
                <a:spcPts val="800"/>
              </a:spcAft>
              <a:buFont typeface="Wingdings 3" pitchFamily="18" charset="2"/>
              <a:buChar char=""/>
              <a:defRPr sz="1600" kern="1200">
                <a:solidFill>
                  <a:schemeClr val="tx1"/>
                </a:solidFill>
                <a:latin typeface="Arial" pitchFamily="34" charset="0"/>
                <a:ea typeface="+mn-ea"/>
                <a:cs typeface="Arial" pitchFamily="34" charset="0"/>
              </a:defRPr>
            </a:lvl1pPr>
            <a:lvl2pPr marL="449989" indent="-180970" algn="l" defTabSz="914377" rtl="0" eaLnBrk="1" latinLnBrk="0" hangingPunct="1">
              <a:lnSpc>
                <a:spcPct val="114000"/>
              </a:lnSpc>
              <a:spcBef>
                <a:spcPts val="0"/>
              </a:spcBef>
              <a:spcAft>
                <a:spcPts val="800"/>
              </a:spcAft>
              <a:buSzPct val="100000"/>
              <a:buFont typeface="Arial" pitchFamily="34" charset="0"/>
              <a:buChar char="•"/>
              <a:defRPr sz="1400" b="0" kern="1200">
                <a:solidFill>
                  <a:schemeClr val="tx1"/>
                </a:solidFill>
                <a:latin typeface="Arial" pitchFamily="34" charset="0"/>
                <a:ea typeface="+mn-ea"/>
                <a:cs typeface="Arial" pitchFamily="34" charset="0"/>
              </a:defRPr>
            </a:lvl2pPr>
            <a:lvl3pPr marL="629984" indent="-180970" algn="l" defTabSz="914377" rtl="0" eaLnBrk="1" latinLnBrk="0" hangingPunct="1">
              <a:lnSpc>
                <a:spcPct val="114000"/>
              </a:lnSpc>
              <a:spcBef>
                <a:spcPts val="0"/>
              </a:spcBef>
              <a:spcAft>
                <a:spcPts val="800"/>
              </a:spcAft>
              <a:buFont typeface="Verdana" pitchFamily="34" charset="0"/>
              <a:buChar char="-"/>
              <a:defRPr sz="1200" kern="1200">
                <a:solidFill>
                  <a:schemeClr val="tx1"/>
                </a:solidFill>
                <a:latin typeface="Arial" pitchFamily="34" charset="0"/>
                <a:ea typeface="+mn-ea"/>
                <a:cs typeface="Arial" pitchFamily="34" charset="0"/>
              </a:defRPr>
            </a:lvl3pPr>
            <a:lvl4pPr marL="827979" indent="-180970" algn="l" defTabSz="914377" rtl="0" eaLnBrk="1" latinLnBrk="0" hangingPunct="1">
              <a:lnSpc>
                <a:spcPct val="114000"/>
              </a:lnSpc>
              <a:spcBef>
                <a:spcPts val="0"/>
              </a:spcBef>
              <a:spcAft>
                <a:spcPts val="800"/>
              </a:spcAft>
              <a:buFont typeface="Calibri" pitchFamily="34" charset="0"/>
              <a:buChar char="-"/>
              <a:defRPr sz="1200" kern="1200">
                <a:solidFill>
                  <a:schemeClr val="tx1"/>
                </a:solidFill>
                <a:latin typeface="Arial" pitchFamily="34" charset="0"/>
                <a:ea typeface="+mn-ea"/>
                <a:cs typeface="Arial" pitchFamily="34" charset="0"/>
              </a:defRPr>
            </a:lvl4pPr>
            <a:lvl5pPr marL="1007975" indent="-179384" algn="l" defTabSz="914377" rtl="0" eaLnBrk="1" latinLnBrk="0" hangingPunct="1">
              <a:lnSpc>
                <a:spcPct val="114000"/>
              </a:lnSpc>
              <a:spcBef>
                <a:spcPts val="0"/>
              </a:spcBef>
              <a:spcAft>
                <a:spcPts val="800"/>
              </a:spcAft>
              <a:buFont typeface="Calibri" pitchFamily="34" charset="0"/>
              <a:buChar char="-"/>
              <a:defRPr sz="12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685800" fontAlgn="auto">
              <a:lnSpc>
                <a:spcPts val="1200"/>
              </a:lnSpc>
              <a:spcBef>
                <a:spcPts val="200"/>
              </a:spcBef>
              <a:spcAft>
                <a:spcPts val="200"/>
              </a:spcAft>
              <a:buClrTx/>
              <a:buSzTx/>
              <a:buNone/>
              <a:tabLst/>
              <a:defRPr/>
            </a:pPr>
            <a:r>
              <a:rPr lang="en-US" sz="1200" b="1" cap="all" spc="-40" dirty="0">
                <a:solidFill>
                  <a:schemeClr val="accent4"/>
                </a:solidFill>
                <a:latin typeface="+mn-lt"/>
                <a:cs typeface="+mn-cs"/>
              </a:rPr>
              <a:t>Enterprise Management</a:t>
            </a:r>
            <a:br>
              <a:rPr lang="en-US" sz="1200" b="1" cap="all" spc="-40" dirty="0">
                <a:solidFill>
                  <a:schemeClr val="accent4"/>
                </a:solidFill>
                <a:latin typeface="+mn-lt"/>
                <a:cs typeface="+mn-cs"/>
              </a:rPr>
            </a:br>
            <a:r>
              <a:rPr lang="en-US" sz="1200" b="1" cap="all" spc="-40" dirty="0">
                <a:solidFill>
                  <a:schemeClr val="accent4"/>
                </a:solidFill>
                <a:latin typeface="+mn-lt"/>
                <a:cs typeface="+mn-cs"/>
              </a:rPr>
              <a:t>&amp; control (EM&amp;C)</a:t>
            </a:r>
          </a:p>
          <a:p>
            <a:pPr defTabSz="914354">
              <a:lnSpc>
                <a:spcPct val="100000"/>
              </a:lnSpc>
              <a:spcBef>
                <a:spcPts val="200"/>
              </a:spcBef>
              <a:spcAft>
                <a:spcPts val="200"/>
              </a:spcAft>
              <a:buFont typeface="Arial" panose="020B0604020202020204" pitchFamily="34" charset="0"/>
              <a:buChar char="•"/>
              <a:defRPr/>
            </a:pPr>
            <a:r>
              <a:rPr lang="en-US" sz="1200" dirty="0">
                <a:solidFill>
                  <a:schemeClr val="bg1"/>
                </a:solidFill>
                <a:latin typeface="+mn-lt"/>
              </a:rPr>
              <a:t>The 24x7x365 Global Network Operations and Security Center (NOSC) ensures customer networks operate at peak performance and meet all requirements of network confidentiality, integrity, and availability.</a:t>
            </a:r>
          </a:p>
          <a:p>
            <a:pPr defTabSz="914354">
              <a:lnSpc>
                <a:spcPct val="100000"/>
              </a:lnSpc>
              <a:spcBef>
                <a:spcPts val="200"/>
              </a:spcBef>
              <a:spcAft>
                <a:spcPts val="200"/>
              </a:spcAft>
              <a:buFont typeface="Arial" panose="020B0604020202020204" pitchFamily="34" charset="0"/>
              <a:buChar char="•"/>
              <a:defRPr/>
            </a:pPr>
            <a:r>
              <a:rPr lang="en-US" sz="1200" dirty="0">
                <a:solidFill>
                  <a:schemeClr val="bg1"/>
                </a:solidFill>
                <a:latin typeface="+mn-lt"/>
              </a:rPr>
              <a:t>The ICT Portal is a web-based enterprise management capability providing a complete view into your network to improve network performance and operational decision making.</a:t>
            </a:r>
          </a:p>
        </p:txBody>
      </p:sp>
      <p:sp>
        <p:nvSpPr>
          <p:cNvPr id="14" name="TextBox 13">
            <a:extLst>
              <a:ext uri="{FF2B5EF4-FFF2-40B4-BE49-F238E27FC236}">
                <a16:creationId xmlns:a16="http://schemas.microsoft.com/office/drawing/2014/main" id="{35734CCA-41DD-6ABC-936D-F8A45864BD35}"/>
              </a:ext>
            </a:extLst>
          </p:cNvPr>
          <p:cNvSpPr txBox="1"/>
          <p:nvPr/>
        </p:nvSpPr>
        <p:spPr>
          <a:xfrm>
            <a:off x="8564129" y="1395286"/>
            <a:ext cx="3410789" cy="1051570"/>
          </a:xfrm>
          <a:prstGeom prst="rect">
            <a:avLst/>
          </a:prstGeom>
        </p:spPr>
        <p:txBody>
          <a:bodyPr vert="horz" wrap="square" lIns="0" tIns="0" rIns="0" bIns="0" rtlCol="0">
            <a:spAutoFit/>
          </a:bodyPr>
          <a:lstStyle/>
          <a:p>
            <a:pPr marL="0" indent="0">
              <a:buNone/>
            </a:pPr>
            <a:r>
              <a:rPr lang="en-GB" sz="1200" b="1" cap="all" spc="-40" dirty="0">
                <a:solidFill>
                  <a:schemeClr val="accent4"/>
                </a:solidFill>
              </a:rPr>
              <a:t>Sovereign Space Solutions</a:t>
            </a:r>
          </a:p>
          <a:p>
            <a:pPr marL="171450" marR="0" lvl="0" indent="-171450" algn="l" defTabSz="914354"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Hosted Payloads/Sensor as a Service</a:t>
            </a:r>
          </a:p>
          <a:p>
            <a:pPr marL="171450" marR="0" lvl="0" indent="-171450" algn="l" defTabSz="914354"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Space Relay for Tactical ISR/Earth Sensing</a:t>
            </a:r>
          </a:p>
          <a:p>
            <a:pPr marL="171450" indent="-171450" defTabSz="914354">
              <a:lnSpc>
                <a:spcPct val="100000"/>
              </a:lnSpc>
              <a:spcBef>
                <a:spcPts val="200"/>
              </a:spcBef>
              <a:spcAft>
                <a:spcPts val="200"/>
              </a:spcAft>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ea typeface="+mn-ea"/>
                <a:cs typeface="+mn-cs"/>
              </a:rPr>
              <a:t>Support for protected tactical waveforms and location obfuscation.</a:t>
            </a:r>
          </a:p>
        </p:txBody>
      </p:sp>
      <p:sp>
        <p:nvSpPr>
          <p:cNvPr id="15" name="Content Placeholder 1">
            <a:extLst>
              <a:ext uri="{FF2B5EF4-FFF2-40B4-BE49-F238E27FC236}">
                <a16:creationId xmlns:a16="http://schemas.microsoft.com/office/drawing/2014/main" id="{68B9FA3C-0C55-BD46-EBB3-7B9EB80F93A0}"/>
              </a:ext>
            </a:extLst>
          </p:cNvPr>
          <p:cNvSpPr txBox="1">
            <a:spLocks/>
          </p:cNvSpPr>
          <p:nvPr/>
        </p:nvSpPr>
        <p:spPr>
          <a:xfrm>
            <a:off x="8564127" y="4969000"/>
            <a:ext cx="3048119" cy="943848"/>
          </a:xfrm>
          <a:prstGeom prst="rect">
            <a:avLst/>
          </a:prstGeom>
        </p:spPr>
        <p:txBody>
          <a:bodyPr wrap="square" lIns="0" tIns="0" rIns="0" bIns="0">
            <a:spAutoFit/>
          </a:bodyPr>
          <a:lstStyle>
            <a:lvl1pPr marL="251994" indent="-251994" algn="l" defTabSz="914377" rtl="0" eaLnBrk="1" latinLnBrk="0" hangingPunct="1">
              <a:lnSpc>
                <a:spcPct val="114000"/>
              </a:lnSpc>
              <a:spcBef>
                <a:spcPts val="0"/>
              </a:spcBef>
              <a:spcAft>
                <a:spcPts val="800"/>
              </a:spcAft>
              <a:buFont typeface="Wingdings 3" pitchFamily="18" charset="2"/>
              <a:buChar char=""/>
              <a:defRPr sz="1600" kern="1200">
                <a:solidFill>
                  <a:schemeClr val="tx1"/>
                </a:solidFill>
                <a:latin typeface="Arial" pitchFamily="34" charset="0"/>
                <a:ea typeface="+mn-ea"/>
                <a:cs typeface="Arial" pitchFamily="34" charset="0"/>
              </a:defRPr>
            </a:lvl1pPr>
            <a:lvl2pPr marL="449989" indent="-180970" algn="l" defTabSz="914377" rtl="0" eaLnBrk="1" latinLnBrk="0" hangingPunct="1">
              <a:lnSpc>
                <a:spcPct val="114000"/>
              </a:lnSpc>
              <a:spcBef>
                <a:spcPts val="0"/>
              </a:spcBef>
              <a:spcAft>
                <a:spcPts val="800"/>
              </a:spcAft>
              <a:buSzPct val="100000"/>
              <a:buFont typeface="Arial" pitchFamily="34" charset="0"/>
              <a:buChar char="•"/>
              <a:defRPr sz="1400" b="0" kern="1200">
                <a:solidFill>
                  <a:schemeClr val="tx1"/>
                </a:solidFill>
                <a:latin typeface="Arial" pitchFamily="34" charset="0"/>
                <a:ea typeface="+mn-ea"/>
                <a:cs typeface="Arial" pitchFamily="34" charset="0"/>
              </a:defRPr>
            </a:lvl2pPr>
            <a:lvl3pPr marL="629984" indent="-180970" algn="l" defTabSz="914377" rtl="0" eaLnBrk="1" latinLnBrk="0" hangingPunct="1">
              <a:lnSpc>
                <a:spcPct val="114000"/>
              </a:lnSpc>
              <a:spcBef>
                <a:spcPts val="0"/>
              </a:spcBef>
              <a:spcAft>
                <a:spcPts val="800"/>
              </a:spcAft>
              <a:buFont typeface="Verdana" pitchFamily="34" charset="0"/>
              <a:buChar char="-"/>
              <a:defRPr sz="1200" kern="1200">
                <a:solidFill>
                  <a:schemeClr val="tx1"/>
                </a:solidFill>
                <a:latin typeface="Arial" pitchFamily="34" charset="0"/>
                <a:ea typeface="+mn-ea"/>
                <a:cs typeface="Arial" pitchFamily="34" charset="0"/>
              </a:defRPr>
            </a:lvl3pPr>
            <a:lvl4pPr marL="827979" indent="-180970" algn="l" defTabSz="914377" rtl="0" eaLnBrk="1" latinLnBrk="0" hangingPunct="1">
              <a:lnSpc>
                <a:spcPct val="114000"/>
              </a:lnSpc>
              <a:spcBef>
                <a:spcPts val="0"/>
              </a:spcBef>
              <a:spcAft>
                <a:spcPts val="800"/>
              </a:spcAft>
              <a:buFont typeface="Calibri" pitchFamily="34" charset="0"/>
              <a:buChar char="-"/>
              <a:defRPr sz="1200" kern="1200">
                <a:solidFill>
                  <a:schemeClr val="tx1"/>
                </a:solidFill>
                <a:latin typeface="Arial" pitchFamily="34" charset="0"/>
                <a:ea typeface="+mn-ea"/>
                <a:cs typeface="Arial" pitchFamily="34" charset="0"/>
              </a:defRPr>
            </a:lvl4pPr>
            <a:lvl5pPr marL="1007975" indent="-179384" algn="l" defTabSz="914377" rtl="0" eaLnBrk="1" latinLnBrk="0" hangingPunct="1">
              <a:lnSpc>
                <a:spcPct val="114000"/>
              </a:lnSpc>
              <a:spcBef>
                <a:spcPts val="0"/>
              </a:spcBef>
              <a:spcAft>
                <a:spcPts val="800"/>
              </a:spcAft>
              <a:buFont typeface="Calibri" pitchFamily="34" charset="0"/>
              <a:buChar char="-"/>
              <a:defRPr sz="12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685800" fontAlgn="auto">
              <a:lnSpc>
                <a:spcPts val="1200"/>
              </a:lnSpc>
              <a:spcBef>
                <a:spcPts val="200"/>
              </a:spcBef>
              <a:spcAft>
                <a:spcPts val="200"/>
              </a:spcAft>
              <a:buClrTx/>
              <a:buSzTx/>
              <a:buNone/>
              <a:tabLst/>
              <a:defRPr/>
            </a:pPr>
            <a:r>
              <a:rPr lang="en-US" sz="1200" b="1" cap="all" spc="-40" dirty="0">
                <a:solidFill>
                  <a:schemeClr val="accent4"/>
                </a:solidFill>
                <a:latin typeface="+mn-lt"/>
                <a:cs typeface="+mn-cs"/>
              </a:rPr>
              <a:t>State-of-the-art Cyber &amp;  IT Services</a:t>
            </a:r>
          </a:p>
          <a:p>
            <a:pPr defTabSz="914354">
              <a:lnSpc>
                <a:spcPct val="100000"/>
              </a:lnSpc>
              <a:spcBef>
                <a:spcPts val="200"/>
              </a:spcBef>
              <a:spcAft>
                <a:spcPts val="200"/>
              </a:spcAft>
              <a:buFont typeface="Arial" panose="020B0604020202020204" pitchFamily="34" charset="0"/>
              <a:buChar char="•"/>
              <a:defRPr/>
            </a:pPr>
            <a:r>
              <a:rPr lang="en-US" sz="1200" dirty="0">
                <a:solidFill>
                  <a:schemeClr val="bg1"/>
                </a:solidFill>
                <a:latin typeface="+mn-lt"/>
              </a:rPr>
              <a:t>Discreet Networks, Beamforming &amp; Switching, Data Encryption, Information Assurance, Vulnerability Management, Certification &amp; Authorizations, AI/ML, ITSM</a:t>
            </a:r>
          </a:p>
        </p:txBody>
      </p:sp>
    </p:spTree>
    <p:extLst>
      <p:ext uri="{BB962C8B-B14F-4D97-AF65-F5344CB8AC3E}">
        <p14:creationId xmlns:p14="http://schemas.microsoft.com/office/powerpoint/2010/main" val="86029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folHlink"/>
                                      </p:to>
                                    </p:animClr>
                                    <p:animClr clrSpc="rgb" dir="cw">
                                      <p:cBhvr>
                                        <p:cTn id="7" dur="500" fill="hold"/>
                                        <p:tgtEl>
                                          <p:spTgt spid="2">
                                            <p:txEl>
                                              <p:pRg st="0" end="0"/>
                                            </p:txEl>
                                          </p:spTgt>
                                        </p:tgtEl>
                                        <p:attrNameLst>
                                          <p:attrName>fillcolor</p:attrName>
                                        </p:attrNameLst>
                                      </p:cBhvr>
                                      <p:to>
                                        <a:schemeClr val="folHlink"/>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subTnLst>
                                    <p:animClr clrSpc="rgb" dir="cw">
                                      <p:cBhvr override="childStyle">
                                        <p:cTn dur="1" fill="hold" display="0" masterRel="nextClick" afterEffect="1"/>
                                        <p:tgtEl>
                                          <p:spTgt spid="2">
                                            <p:txEl>
                                              <p:pRg st="0" end="0"/>
                                            </p:txEl>
                                          </p:spTgt>
                                        </p:tgtEl>
                                        <p:attrNameLst>
                                          <p:attrName>ppt_c</p:attrName>
                                        </p:attrNameLst>
                                      </p:cBhvr>
                                      <p:to>
                                        <a:schemeClr val="folHlink"/>
                                      </p:to>
                                    </p:animClr>
                                  </p:sub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12">
                                            <p:txEl>
                                              <p:pRg st="2" end="2"/>
                                            </p:txEl>
                                          </p:spTgt>
                                        </p:tgtEl>
                                        <p:attrNameLst>
                                          <p:attrName>style.color</p:attrName>
                                        </p:attrNameLst>
                                      </p:cBhvr>
                                      <p:to>
                                        <a:schemeClr val="folHlink"/>
                                      </p:to>
                                    </p:animClr>
                                    <p:animClr clrSpc="rgb" dir="cw">
                                      <p:cBhvr>
                                        <p:cTn id="14" dur="500" fill="hold"/>
                                        <p:tgtEl>
                                          <p:spTgt spid="12">
                                            <p:txEl>
                                              <p:pRg st="2" end="2"/>
                                            </p:txEl>
                                          </p:spTgt>
                                        </p:tgtEl>
                                        <p:attrNameLst>
                                          <p:attrName>fillcolor</p:attrName>
                                        </p:attrNameLst>
                                      </p:cBhvr>
                                      <p:to>
                                        <a:schemeClr val="folHlink"/>
                                      </p:to>
                                    </p:animClr>
                                    <p:set>
                                      <p:cBhvr>
                                        <p:cTn id="15" dur="500" fill="hold"/>
                                        <p:tgtEl>
                                          <p:spTgt spid="12">
                                            <p:txEl>
                                              <p:pRg st="2" end="2"/>
                                            </p:txEl>
                                          </p:spTgt>
                                        </p:tgtEl>
                                        <p:attrNameLst>
                                          <p:attrName>fill.type</p:attrName>
                                        </p:attrNameLst>
                                      </p:cBhvr>
                                      <p:to>
                                        <p:strVal val="solid"/>
                                      </p:to>
                                    </p:set>
                                    <p:set>
                                      <p:cBhvr>
                                        <p:cTn id="16" dur="500" fill="hold"/>
                                        <p:tgtEl>
                                          <p:spTgt spid="12">
                                            <p:txEl>
                                              <p:pRg st="2" end="2"/>
                                            </p:txEl>
                                          </p:spTgt>
                                        </p:tgtEl>
                                        <p:attrNameLst>
                                          <p:attrName>fill.on</p:attrName>
                                        </p:attrNameLst>
                                      </p:cBhvr>
                                      <p:to>
                                        <p:strVal val="true"/>
                                      </p:to>
                                    </p:set>
                                  </p:childTnLst>
                                  <p:subTnLst>
                                    <p:animClr clrSpc="rgb" dir="cw">
                                      <p:cBhvr override="childStyle">
                                        <p:cTn dur="1" fill="hold" display="0" masterRel="nextClick" afterEffect="1"/>
                                        <p:tgtEl>
                                          <p:spTgt spid="12">
                                            <p:txEl>
                                              <p:pRg st="2" end="2"/>
                                            </p:txEl>
                                          </p:spTgt>
                                        </p:tgtEl>
                                        <p:attrNameLst>
                                          <p:attrName>ppt_c</p:attrName>
                                        </p:attrNameLst>
                                      </p:cBhvr>
                                      <p:to>
                                        <a:schemeClr val="folHlink"/>
                                      </p:to>
                                    </p:animClr>
                                  </p:subTnLst>
                                </p:cTn>
                              </p:par>
                            </p:childTnLst>
                          </p:cTn>
                        </p:par>
                      </p:childTnLst>
                    </p:cTn>
                  </p:par>
                  <p:par>
                    <p:cTn id="17" fill="hold">
                      <p:stCondLst>
                        <p:cond delay="indefinite"/>
                      </p:stCondLst>
                      <p:childTnLst>
                        <p:par>
                          <p:cTn id="18" fill="hold">
                            <p:stCondLst>
                              <p:cond delay="0"/>
                            </p:stCondLst>
                            <p:childTnLst>
                              <p:par>
                                <p:cTn id="19" presetID="19" presetClass="emph" presetSubtype="0" fill="hold" nodeType="clickEffect">
                                  <p:stCondLst>
                                    <p:cond delay="0"/>
                                  </p:stCondLst>
                                  <p:childTnLst>
                                    <p:animClr clrSpc="rgb" dir="cw">
                                      <p:cBhvr override="childStyle">
                                        <p:cTn id="20" dur="500" fill="hold"/>
                                        <p:tgtEl>
                                          <p:spTgt spid="13">
                                            <p:txEl>
                                              <p:pRg st="2" end="2"/>
                                            </p:txEl>
                                          </p:spTgt>
                                        </p:tgtEl>
                                        <p:attrNameLst>
                                          <p:attrName>style.color</p:attrName>
                                        </p:attrNameLst>
                                      </p:cBhvr>
                                      <p:to>
                                        <a:schemeClr val="folHlink"/>
                                      </p:to>
                                    </p:animClr>
                                    <p:animClr clrSpc="rgb" dir="cw">
                                      <p:cBhvr>
                                        <p:cTn id="21" dur="500" fill="hold"/>
                                        <p:tgtEl>
                                          <p:spTgt spid="13">
                                            <p:txEl>
                                              <p:pRg st="2" end="2"/>
                                            </p:txEl>
                                          </p:spTgt>
                                        </p:tgtEl>
                                        <p:attrNameLst>
                                          <p:attrName>fillcolor</p:attrName>
                                        </p:attrNameLst>
                                      </p:cBhvr>
                                      <p:to>
                                        <a:schemeClr val="folHlink"/>
                                      </p:to>
                                    </p:animClr>
                                    <p:set>
                                      <p:cBhvr>
                                        <p:cTn id="22" dur="500" fill="hold"/>
                                        <p:tgtEl>
                                          <p:spTgt spid="13">
                                            <p:txEl>
                                              <p:pRg st="2" end="2"/>
                                            </p:txEl>
                                          </p:spTgt>
                                        </p:tgtEl>
                                        <p:attrNameLst>
                                          <p:attrName>fill.type</p:attrName>
                                        </p:attrNameLst>
                                      </p:cBhvr>
                                      <p:to>
                                        <p:strVal val="solid"/>
                                      </p:to>
                                    </p:set>
                                    <p:set>
                                      <p:cBhvr>
                                        <p:cTn id="23" dur="500" fill="hold"/>
                                        <p:tgtEl>
                                          <p:spTgt spid="13">
                                            <p:txEl>
                                              <p:pRg st="2" end="2"/>
                                            </p:txEl>
                                          </p:spTgt>
                                        </p:tgtEl>
                                        <p:attrNameLst>
                                          <p:attrName>fill.on</p:attrName>
                                        </p:attrNameLst>
                                      </p:cBhvr>
                                      <p:to>
                                        <p:strVal val="true"/>
                                      </p:to>
                                    </p:set>
                                  </p:childTnLst>
                                  <p:subTnLst>
                                    <p:animClr clrSpc="rgb" dir="cw">
                                      <p:cBhvr override="childStyle">
                                        <p:cTn dur="1" fill="hold" display="0" masterRel="nextClick" afterEffect="1"/>
                                        <p:tgtEl>
                                          <p:spTgt spid="13">
                                            <p:txEl>
                                              <p:pRg st="2" end="2"/>
                                            </p:txEl>
                                          </p:spTgt>
                                        </p:tgtEl>
                                        <p:attrNameLst>
                                          <p:attrName>ppt_c</p:attrName>
                                        </p:attrNameLst>
                                      </p:cBhvr>
                                      <p:to>
                                        <a:schemeClr val="folHlink"/>
                                      </p:to>
                                    </p:animClr>
                                  </p:subTnLst>
                                </p:cTn>
                              </p:par>
                            </p:childTnLst>
                          </p:cTn>
                        </p:par>
                      </p:childTnLst>
                    </p:cTn>
                  </p:par>
                  <p:par>
                    <p:cTn id="24" fill="hold">
                      <p:stCondLst>
                        <p:cond delay="indefinite"/>
                      </p:stCondLst>
                      <p:childTnLst>
                        <p:par>
                          <p:cTn id="25" fill="hold">
                            <p:stCondLst>
                              <p:cond delay="0"/>
                            </p:stCondLst>
                            <p:childTnLst>
                              <p:par>
                                <p:cTn id="26" presetID="19" presetClass="emph" presetSubtype="0" fill="hold" nodeType="clickEffect">
                                  <p:stCondLst>
                                    <p:cond delay="0"/>
                                  </p:stCondLst>
                                  <p:childTnLst>
                                    <p:animClr clrSpc="rgb" dir="cw">
                                      <p:cBhvr override="childStyle">
                                        <p:cTn id="27" dur="500" fill="hold"/>
                                        <p:tgtEl>
                                          <p:spTgt spid="14">
                                            <p:txEl>
                                              <p:pRg st="3" end="3"/>
                                            </p:txEl>
                                          </p:spTgt>
                                        </p:tgtEl>
                                        <p:attrNameLst>
                                          <p:attrName>style.color</p:attrName>
                                        </p:attrNameLst>
                                      </p:cBhvr>
                                      <p:to>
                                        <a:schemeClr val="folHlink"/>
                                      </p:to>
                                    </p:animClr>
                                    <p:animClr clrSpc="rgb" dir="cw">
                                      <p:cBhvr>
                                        <p:cTn id="28" dur="500" fill="hold"/>
                                        <p:tgtEl>
                                          <p:spTgt spid="14">
                                            <p:txEl>
                                              <p:pRg st="3" end="3"/>
                                            </p:txEl>
                                          </p:spTgt>
                                        </p:tgtEl>
                                        <p:attrNameLst>
                                          <p:attrName>fillcolor</p:attrName>
                                        </p:attrNameLst>
                                      </p:cBhvr>
                                      <p:to>
                                        <a:schemeClr val="folHlink"/>
                                      </p:to>
                                    </p:animClr>
                                    <p:set>
                                      <p:cBhvr>
                                        <p:cTn id="29" dur="500" fill="hold"/>
                                        <p:tgtEl>
                                          <p:spTgt spid="14">
                                            <p:txEl>
                                              <p:pRg st="3" end="3"/>
                                            </p:txEl>
                                          </p:spTgt>
                                        </p:tgtEl>
                                        <p:attrNameLst>
                                          <p:attrName>fill.type</p:attrName>
                                        </p:attrNameLst>
                                      </p:cBhvr>
                                      <p:to>
                                        <p:strVal val="solid"/>
                                      </p:to>
                                    </p:set>
                                    <p:set>
                                      <p:cBhvr>
                                        <p:cTn id="30" dur="500" fill="hold"/>
                                        <p:tgtEl>
                                          <p:spTgt spid="14">
                                            <p:txEl>
                                              <p:pRg st="3" end="3"/>
                                            </p:txEl>
                                          </p:spTgt>
                                        </p:tgtEl>
                                        <p:attrNameLst>
                                          <p:attrName>fill.on</p:attrName>
                                        </p:attrNameLst>
                                      </p:cBhvr>
                                      <p:to>
                                        <p:strVal val="true"/>
                                      </p:to>
                                    </p:set>
                                  </p:childTnLst>
                                  <p:subTnLst>
                                    <p:animClr clrSpc="rgb" dir="cw">
                                      <p:cBhvr override="childStyle">
                                        <p:cTn dur="1" fill="hold" display="0" masterRel="nextClick" afterEffect="1"/>
                                        <p:tgtEl>
                                          <p:spTgt spid="14">
                                            <p:txEl>
                                              <p:pRg st="3" end="3"/>
                                            </p:txEl>
                                          </p:spTgt>
                                        </p:tgtEl>
                                        <p:attrNameLst>
                                          <p:attrName>ppt_c</p:attrName>
                                        </p:attrNameLst>
                                      </p:cBhvr>
                                      <p:to>
                                        <a:schemeClr val="folHlink"/>
                                      </p:to>
                                    </p:animClr>
                                  </p:subTnLst>
                                </p:cTn>
                              </p:par>
                            </p:childTnLst>
                          </p:cTn>
                        </p:par>
                      </p:childTnLst>
                    </p:cTn>
                  </p:par>
                  <p:par>
                    <p:cTn id="31" fill="hold">
                      <p:stCondLst>
                        <p:cond delay="indefinite"/>
                      </p:stCondLst>
                      <p:childTnLst>
                        <p:par>
                          <p:cTn id="32" fill="hold">
                            <p:stCondLst>
                              <p:cond delay="0"/>
                            </p:stCondLst>
                            <p:childTnLst>
                              <p:par>
                                <p:cTn id="33" presetID="19" presetClass="emph" presetSubtype="0" fill="hold" nodeType="clickEffect">
                                  <p:stCondLst>
                                    <p:cond delay="0"/>
                                  </p:stCondLst>
                                  <p:childTnLst>
                                    <p:animClr clrSpc="rgb" dir="cw">
                                      <p:cBhvr override="childStyle">
                                        <p:cTn id="34" dur="500" fill="hold"/>
                                        <p:tgtEl>
                                          <p:spTgt spid="11">
                                            <p:txEl>
                                              <p:pRg st="1" end="1"/>
                                            </p:txEl>
                                          </p:spTgt>
                                        </p:tgtEl>
                                        <p:attrNameLst>
                                          <p:attrName>style.color</p:attrName>
                                        </p:attrNameLst>
                                      </p:cBhvr>
                                      <p:to>
                                        <a:schemeClr val="folHlink"/>
                                      </p:to>
                                    </p:animClr>
                                    <p:animClr clrSpc="rgb" dir="cw">
                                      <p:cBhvr>
                                        <p:cTn id="35" dur="500" fill="hold"/>
                                        <p:tgtEl>
                                          <p:spTgt spid="11">
                                            <p:txEl>
                                              <p:pRg st="1" end="1"/>
                                            </p:txEl>
                                          </p:spTgt>
                                        </p:tgtEl>
                                        <p:attrNameLst>
                                          <p:attrName>fillcolor</p:attrName>
                                        </p:attrNameLst>
                                      </p:cBhvr>
                                      <p:to>
                                        <a:schemeClr val="folHlink"/>
                                      </p:to>
                                    </p:animClr>
                                    <p:set>
                                      <p:cBhvr>
                                        <p:cTn id="36" dur="500" fill="hold"/>
                                        <p:tgtEl>
                                          <p:spTgt spid="11">
                                            <p:txEl>
                                              <p:pRg st="1" end="1"/>
                                            </p:txEl>
                                          </p:spTgt>
                                        </p:tgtEl>
                                        <p:attrNameLst>
                                          <p:attrName>fill.type</p:attrName>
                                        </p:attrNameLst>
                                      </p:cBhvr>
                                      <p:to>
                                        <p:strVal val="solid"/>
                                      </p:to>
                                    </p:set>
                                    <p:set>
                                      <p:cBhvr>
                                        <p:cTn id="37" dur="500" fill="hold"/>
                                        <p:tgtEl>
                                          <p:spTgt spid="11">
                                            <p:txEl>
                                              <p:pRg st="1" end="1"/>
                                            </p:txEl>
                                          </p:spTgt>
                                        </p:tgtEl>
                                        <p:attrNameLst>
                                          <p:attrName>fill.on</p:attrName>
                                        </p:attrNameLst>
                                      </p:cBhvr>
                                      <p:to>
                                        <p:strVal val="true"/>
                                      </p:to>
                                    </p:set>
                                  </p:childTnLst>
                                  <p:subTnLst>
                                    <p:animClr clrSpc="rgb" dir="cw">
                                      <p:cBhvr override="childStyle">
                                        <p:cTn dur="1" fill="hold" display="0" masterRel="nextClick" afterEffect="1"/>
                                        <p:tgtEl>
                                          <p:spTgt spid="11">
                                            <p:txEl>
                                              <p:pRg st="1" end="1"/>
                                            </p:txEl>
                                          </p:spTgt>
                                        </p:tgtEl>
                                        <p:attrNameLst>
                                          <p:attrName>ppt_c</p:attrName>
                                        </p:attrNameLst>
                                      </p:cBhvr>
                                      <p:to>
                                        <a:schemeClr val="folHlink"/>
                                      </p:to>
                                    </p:animClr>
                                  </p:subTnLst>
                                </p:cTn>
                              </p:par>
                            </p:childTnLst>
                          </p:cTn>
                        </p:par>
                      </p:childTnLst>
                    </p:cTn>
                  </p:par>
                  <p:par>
                    <p:cTn id="38" fill="hold">
                      <p:stCondLst>
                        <p:cond delay="indefinite"/>
                      </p:stCondLst>
                      <p:childTnLst>
                        <p:par>
                          <p:cTn id="39" fill="hold">
                            <p:stCondLst>
                              <p:cond delay="0"/>
                            </p:stCondLst>
                            <p:childTnLst>
                              <p:par>
                                <p:cTn id="40" presetID="19" presetClass="emph" presetSubtype="0" fill="hold" nodeType="clickEffect">
                                  <p:stCondLst>
                                    <p:cond delay="0"/>
                                  </p:stCondLst>
                                  <p:childTnLst>
                                    <p:animClr clrSpc="rgb" dir="cw">
                                      <p:cBhvr override="childStyle">
                                        <p:cTn id="41" dur="500" fill="hold"/>
                                        <p:tgtEl>
                                          <p:spTgt spid="15">
                                            <p:txEl>
                                              <p:pRg st="1" end="1"/>
                                            </p:txEl>
                                          </p:spTgt>
                                        </p:tgtEl>
                                        <p:attrNameLst>
                                          <p:attrName>style.color</p:attrName>
                                        </p:attrNameLst>
                                      </p:cBhvr>
                                      <p:to>
                                        <a:schemeClr val="folHlink"/>
                                      </p:to>
                                    </p:animClr>
                                    <p:animClr clrSpc="rgb" dir="cw">
                                      <p:cBhvr>
                                        <p:cTn id="42" dur="500" fill="hold"/>
                                        <p:tgtEl>
                                          <p:spTgt spid="15">
                                            <p:txEl>
                                              <p:pRg st="1" end="1"/>
                                            </p:txEl>
                                          </p:spTgt>
                                        </p:tgtEl>
                                        <p:attrNameLst>
                                          <p:attrName>fillcolor</p:attrName>
                                        </p:attrNameLst>
                                      </p:cBhvr>
                                      <p:to>
                                        <a:schemeClr val="folHlink"/>
                                      </p:to>
                                    </p:animClr>
                                    <p:set>
                                      <p:cBhvr>
                                        <p:cTn id="43" dur="500" fill="hold"/>
                                        <p:tgtEl>
                                          <p:spTgt spid="15">
                                            <p:txEl>
                                              <p:pRg st="1" end="1"/>
                                            </p:txEl>
                                          </p:spTgt>
                                        </p:tgtEl>
                                        <p:attrNameLst>
                                          <p:attrName>fill.type</p:attrName>
                                        </p:attrNameLst>
                                      </p:cBhvr>
                                      <p:to>
                                        <p:strVal val="solid"/>
                                      </p:to>
                                    </p:set>
                                    <p:set>
                                      <p:cBhvr>
                                        <p:cTn id="44" dur="500" fill="hold"/>
                                        <p:tgtEl>
                                          <p:spTgt spid="15">
                                            <p:txEl>
                                              <p:pRg st="1" end="1"/>
                                            </p:txEl>
                                          </p:spTgt>
                                        </p:tgtEl>
                                        <p:attrNameLst>
                                          <p:attrName>fill.on</p:attrName>
                                        </p:attrNameLst>
                                      </p:cBhvr>
                                      <p:to>
                                        <p:strVal val="true"/>
                                      </p:to>
                                    </p:set>
                                  </p:childTnLst>
                                  <p:subTnLst>
                                    <p:animClr clrSpc="rgb" dir="cw">
                                      <p:cBhvr override="childStyle">
                                        <p:cTn dur="1" fill="hold" display="0" masterRel="nextClick" afterEffect="1"/>
                                        <p:tgtEl>
                                          <p:spTgt spid="15">
                                            <p:txEl>
                                              <p:pRg st="1" end="1"/>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FF7C1-5F61-7CBC-AA00-84CEB20BC071}"/>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24C02C-02EA-E19B-B736-1227EBCB8D65}"/>
              </a:ext>
            </a:extLst>
          </p:cNvPr>
          <p:cNvSpPr>
            <a:spLocks noGrp="1"/>
          </p:cNvSpPr>
          <p:nvPr>
            <p:ph type="body" sz="quarter" idx="13"/>
          </p:nvPr>
        </p:nvSpPr>
        <p:spPr/>
        <p:txBody>
          <a:bodyPr/>
          <a:lstStyle/>
          <a:p>
            <a:r>
              <a:rPr lang="en-US" dirty="0"/>
              <a:t>Satellite Show demo – Agentic AI baseband analytics</a:t>
            </a:r>
          </a:p>
        </p:txBody>
      </p:sp>
      <p:sp>
        <p:nvSpPr>
          <p:cNvPr id="3" name="Title 2">
            <a:extLst>
              <a:ext uri="{FF2B5EF4-FFF2-40B4-BE49-F238E27FC236}">
                <a16:creationId xmlns:a16="http://schemas.microsoft.com/office/drawing/2014/main" id="{0CAC953B-B865-2710-87D7-3A2C908D9D59}"/>
              </a:ext>
            </a:extLst>
          </p:cNvPr>
          <p:cNvSpPr>
            <a:spLocks noGrp="1"/>
          </p:cNvSpPr>
          <p:nvPr>
            <p:ph type="title"/>
          </p:nvPr>
        </p:nvSpPr>
        <p:spPr/>
        <p:txBody>
          <a:bodyPr/>
          <a:lstStyle/>
          <a:p>
            <a:r>
              <a:rPr lang="en-US" dirty="0"/>
              <a:t>Unlocking AI transformation with Virtualized Satcom</a:t>
            </a:r>
          </a:p>
        </p:txBody>
      </p:sp>
      <p:pic>
        <p:nvPicPr>
          <p:cNvPr id="5" name="Picture 4">
            <a:extLst>
              <a:ext uri="{FF2B5EF4-FFF2-40B4-BE49-F238E27FC236}">
                <a16:creationId xmlns:a16="http://schemas.microsoft.com/office/drawing/2014/main" id="{412E3DD3-C2CE-7120-DF4D-84EC00C477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999" y="1317498"/>
            <a:ext cx="8740249" cy="5050455"/>
          </a:xfrm>
          <a:prstGeom prst="rect">
            <a:avLst/>
          </a:prstGeom>
        </p:spPr>
      </p:pic>
      <p:pic>
        <p:nvPicPr>
          <p:cNvPr id="2050" name="Picture 2">
            <a:extLst>
              <a:ext uri="{FF2B5EF4-FFF2-40B4-BE49-F238E27FC236}">
                <a16:creationId xmlns:a16="http://schemas.microsoft.com/office/drawing/2014/main" id="{0D456A07-A154-8D09-9887-843D00915E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7593" y="4896777"/>
            <a:ext cx="978700" cy="45020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mazon Web Services - Wikipedia">
            <a:extLst>
              <a:ext uri="{FF2B5EF4-FFF2-40B4-BE49-F238E27FC236}">
                <a16:creationId xmlns:a16="http://schemas.microsoft.com/office/drawing/2014/main" id="{A8E2AAB6-3265-8712-DDB2-33CD6A689F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6495" y="5848815"/>
            <a:ext cx="653803" cy="39179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Join WAVE Consortium | Waveform Architecture for Virtualized Ecosystems">
            <a:extLst>
              <a:ext uri="{FF2B5EF4-FFF2-40B4-BE49-F238E27FC236}">
                <a16:creationId xmlns:a16="http://schemas.microsoft.com/office/drawing/2014/main" id="{1E7A2B4C-7383-2F74-7A0F-49E5D08D51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53249" y="5602665"/>
            <a:ext cx="721518" cy="72151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9936BAA-A96A-C741-C4FE-12BF30E090E3}"/>
              </a:ext>
            </a:extLst>
          </p:cNvPr>
          <p:cNvSpPr txBox="1"/>
          <p:nvPr/>
        </p:nvSpPr>
        <p:spPr>
          <a:xfrm>
            <a:off x="9414255" y="2202426"/>
            <a:ext cx="2720519" cy="4524315"/>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Partnering with Gilat and AWS</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WAVE-compliant, Cloud FPGA-accelerated modulation and demodulation</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IP Baseband layer enables new AI capabilities e.g. interference mitigation, beamforming</a:t>
            </a:r>
          </a:p>
          <a:p>
            <a:pPr marL="285750" indent="-285750">
              <a:buFont typeface="Arial" panose="020B0604020202020204" pitchFamily="34" charset="0"/>
              <a:buChar char="•"/>
            </a:pPr>
            <a:endParaRPr lang="en-US" dirty="0">
              <a:solidFill>
                <a:schemeClr val="bg1"/>
              </a:solidFill>
            </a:endParaRPr>
          </a:p>
        </p:txBody>
      </p:sp>
      <p:pic>
        <p:nvPicPr>
          <p:cNvPr id="1028" name="Picture 4" descr="Our Affiliates | SES">
            <a:extLst>
              <a:ext uri="{FF2B5EF4-FFF2-40B4-BE49-F238E27FC236}">
                <a16:creationId xmlns:a16="http://schemas.microsoft.com/office/drawing/2014/main" id="{0431640F-E623-E185-AF3D-2205518E4D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1511" y="4564129"/>
            <a:ext cx="1888490" cy="1066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25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4">
                                            <p:txEl>
                                              <p:pRg st="0" end="0"/>
                                            </p:txEl>
                                          </p:spTgt>
                                        </p:tgtEl>
                                        <p:attrNameLst>
                                          <p:attrName>style.color</p:attrName>
                                        </p:attrNameLst>
                                      </p:cBhvr>
                                      <p:to>
                                        <a:schemeClr val="folHlink"/>
                                      </p:to>
                                    </p:animClr>
                                    <p:animClr clrSpc="rgb" dir="cw">
                                      <p:cBhvr>
                                        <p:cTn id="7" dur="500" fill="hold"/>
                                        <p:tgtEl>
                                          <p:spTgt spid="4">
                                            <p:txEl>
                                              <p:pRg st="0" end="0"/>
                                            </p:txEl>
                                          </p:spTgt>
                                        </p:tgtEl>
                                        <p:attrNameLst>
                                          <p:attrName>fillcolor</p:attrName>
                                        </p:attrNameLst>
                                      </p:cBhvr>
                                      <p:to>
                                        <a:schemeClr val="folHlink"/>
                                      </p:to>
                                    </p:animClr>
                                    <p:set>
                                      <p:cBhvr>
                                        <p:cTn id="8" dur="500" fill="hold"/>
                                        <p:tgtEl>
                                          <p:spTgt spid="4">
                                            <p:txEl>
                                              <p:pRg st="0" end="0"/>
                                            </p:txEl>
                                          </p:spTgt>
                                        </p:tgtEl>
                                        <p:attrNameLst>
                                          <p:attrName>fill.type</p:attrName>
                                        </p:attrNameLst>
                                      </p:cBhvr>
                                      <p:to>
                                        <p:strVal val="solid"/>
                                      </p:to>
                                    </p:set>
                                    <p:set>
                                      <p:cBhvr>
                                        <p:cTn id="9" dur="500" fill="hold"/>
                                        <p:tgtEl>
                                          <p:spTgt spid="4">
                                            <p:txEl>
                                              <p:pRg st="0" end="0"/>
                                            </p:txEl>
                                          </p:spTgt>
                                        </p:tgtEl>
                                        <p:attrNameLst>
                                          <p:attrName>fill.on</p:attrName>
                                        </p:attrNameLst>
                                      </p:cBhvr>
                                      <p:to>
                                        <p:strVal val="true"/>
                                      </p:to>
                                    </p:set>
                                  </p:childTnLst>
                                  <p:subTnLst>
                                    <p:animClr clrSpc="rgb" dir="cw">
                                      <p:cBhvr override="childStyle">
                                        <p:cTn dur="1" fill="hold" display="0" masterRel="nextClick" afterEffect="1"/>
                                        <p:tgtEl>
                                          <p:spTgt spid="4">
                                            <p:txEl>
                                              <p:pRg st="0" end="0"/>
                                            </p:txEl>
                                          </p:spTgt>
                                        </p:tgtEl>
                                        <p:attrNameLst>
                                          <p:attrName>ppt_c</p:attrName>
                                        </p:attrNameLst>
                                      </p:cBhvr>
                                      <p:to>
                                        <a:schemeClr val="folHlink"/>
                                      </p:to>
                                    </p:animClr>
                                  </p:sub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2">
                                            <p:txEl>
                                              <p:pRg st="4" end="4"/>
                                            </p:txEl>
                                          </p:spTgt>
                                        </p:tgtEl>
                                        <p:attrNameLst>
                                          <p:attrName>style.color</p:attrName>
                                        </p:attrNameLst>
                                      </p:cBhvr>
                                      <p:to>
                                        <a:schemeClr val="folHlink"/>
                                      </p:to>
                                    </p:animClr>
                                    <p:animClr clrSpc="rgb" dir="cw">
                                      <p:cBhvr>
                                        <p:cTn id="14" dur="500" fill="hold"/>
                                        <p:tgtEl>
                                          <p:spTgt spid="2">
                                            <p:txEl>
                                              <p:pRg st="4" end="4"/>
                                            </p:txEl>
                                          </p:spTgt>
                                        </p:tgtEl>
                                        <p:attrNameLst>
                                          <p:attrName>fillcolor</p:attrName>
                                        </p:attrNameLst>
                                      </p:cBhvr>
                                      <p:to>
                                        <a:schemeClr val="folHlink"/>
                                      </p:to>
                                    </p:animClr>
                                    <p:set>
                                      <p:cBhvr>
                                        <p:cTn id="15" dur="500" fill="hold"/>
                                        <p:tgtEl>
                                          <p:spTgt spid="2">
                                            <p:txEl>
                                              <p:pRg st="4" end="4"/>
                                            </p:txEl>
                                          </p:spTgt>
                                        </p:tgtEl>
                                        <p:attrNameLst>
                                          <p:attrName>fill.type</p:attrName>
                                        </p:attrNameLst>
                                      </p:cBhvr>
                                      <p:to>
                                        <p:strVal val="solid"/>
                                      </p:to>
                                    </p:set>
                                    <p:set>
                                      <p:cBhvr>
                                        <p:cTn id="16" dur="500" fill="hold"/>
                                        <p:tgtEl>
                                          <p:spTgt spid="2">
                                            <p:txEl>
                                              <p:pRg st="4" end="4"/>
                                            </p:txEl>
                                          </p:spTgt>
                                        </p:tgtEl>
                                        <p:attrNameLst>
                                          <p:attrName>fill.on</p:attrName>
                                        </p:attrNameLst>
                                      </p:cBhvr>
                                      <p:to>
                                        <p:strVal val="true"/>
                                      </p:to>
                                    </p:set>
                                  </p:childTnLst>
                                  <p:subTnLst>
                                    <p:animClr clrSpc="rgb" dir="cw">
                                      <p:cBhvr override="childStyle">
                                        <p:cTn dur="1" fill="hold" display="0" masterRel="nextClick" afterEffect="1"/>
                                        <p:tgtEl>
                                          <p:spTgt spid="2">
                                            <p:txEl>
                                              <p:pRg st="4" end="4"/>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AWS Brand Template_Dark">
  <a:themeElements>
    <a:clrScheme name="AWS Template">
      <a:dk1>
        <a:srgbClr val="161E2D"/>
      </a:dk1>
      <a:lt1>
        <a:srgbClr val="FFFFFF"/>
      </a:lt1>
      <a:dk2>
        <a:srgbClr val="00193D"/>
      </a:dk2>
      <a:lt2>
        <a:srgbClr val="F5F7FF"/>
      </a:lt2>
      <a:accent1>
        <a:srgbClr val="0073E5"/>
      </a:accent1>
      <a:accent2>
        <a:srgbClr val="FF6A3D"/>
      </a:accent2>
      <a:accent3>
        <a:srgbClr val="5900B2"/>
      </a:accent3>
      <a:accent4>
        <a:srgbClr val="001A99"/>
      </a:accent4>
      <a:accent5>
        <a:srgbClr val="C300E0"/>
      </a:accent5>
      <a:accent6>
        <a:srgbClr val="00E500"/>
      </a:accent6>
      <a:hlink>
        <a:srgbClr val="42B4FF"/>
      </a:hlink>
      <a:folHlink>
        <a:srgbClr val="B2A8FF"/>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extLst>
    <a:ext uri="{05A4C25C-085E-4340-85A3-A5531E510DB2}">
      <thm15:themeFamily xmlns:thm15="http://schemas.microsoft.com/office/thememl/2012/main" name="Presentation1" id="{10B1A1AB-66E2-4EB3-B743-8516223C8CA5}" vid="{207657F2-C1D5-4C9A-A624-35CD9B124E5E}"/>
    </a:ext>
  </a:extLst>
</a:theme>
</file>

<file path=ppt/theme/theme2.xml><?xml version="1.0" encoding="utf-8"?>
<a:theme xmlns:a="http://schemas.openxmlformats.org/drawingml/2006/main" name="AWS re:Invent">
  <a:themeElements>
    <a:clrScheme name="Custom 29">
      <a:dk1>
        <a:srgbClr val="000000"/>
      </a:dk1>
      <a:lt1>
        <a:srgbClr val="FFFFFF"/>
      </a:lt1>
      <a:dk2>
        <a:srgbClr val="09051B"/>
      </a:dk2>
      <a:lt2>
        <a:srgbClr val="F2F4F4"/>
      </a:lt2>
      <a:accent1>
        <a:srgbClr val="0EEDAF"/>
      </a:accent1>
      <a:accent2>
        <a:srgbClr val="F2FF85"/>
      </a:accent2>
      <a:accent3>
        <a:srgbClr val="FF706E"/>
      </a:accent3>
      <a:accent4>
        <a:srgbClr val="FF00F7"/>
      </a:accent4>
      <a:accent5>
        <a:srgbClr val="BC007A"/>
      </a:accent5>
      <a:accent6>
        <a:srgbClr val="2C0152"/>
      </a:accent6>
      <a:hlink>
        <a:srgbClr val="2E77FA"/>
      </a:hlink>
      <a:folHlink>
        <a:srgbClr val="2E77FA"/>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custClrLst>
    <a:custClr name="Yellow-Orange">
      <a:srgbClr val="FF901E"/>
    </a:custClr>
    <a:custClr name="Bright Red">
      <a:srgbClr val="FF316E"/>
    </a:custClr>
    <a:custClr name="Plum">
      <a:srgbClr val="480046"/>
    </a:custClr>
    <a:custClr name="Blue">
      <a:srgbClr val="0019C8"/>
    </a:custClr>
    <a:custClr name="Sky Blue (hyperlink)">
      <a:srgbClr val="0061FF"/>
    </a:custClr>
  </a:custClrLst>
  <a:extLst>
    <a:ext uri="{05A4C25C-085E-4340-85A3-A5531E510DB2}">
      <thm15:themeFamily xmlns:thm15="http://schemas.microsoft.com/office/thememl/2012/main" name="Presentation8" id="{C1C046C8-FEEB-F544-8F0D-279D91C77DC6}" vid="{7507A532-FAD7-8D4B-8C53-D4B285E4155D}"/>
    </a:ext>
  </a:extLst>
</a:theme>
</file>

<file path=ppt/theme/theme3.xml><?xml version="1.0" encoding="utf-8"?>
<a:theme xmlns:a="http://schemas.openxmlformats.org/drawingml/2006/main" name="1_AWS re:Invent">
  <a:themeElements>
    <a:clrScheme name="Custom 29">
      <a:dk1>
        <a:srgbClr val="000000"/>
      </a:dk1>
      <a:lt1>
        <a:srgbClr val="FFFFFF"/>
      </a:lt1>
      <a:dk2>
        <a:srgbClr val="09051B"/>
      </a:dk2>
      <a:lt2>
        <a:srgbClr val="F2F4F4"/>
      </a:lt2>
      <a:accent1>
        <a:srgbClr val="0EEDAF"/>
      </a:accent1>
      <a:accent2>
        <a:srgbClr val="F2FF85"/>
      </a:accent2>
      <a:accent3>
        <a:srgbClr val="FF706E"/>
      </a:accent3>
      <a:accent4>
        <a:srgbClr val="FF00F7"/>
      </a:accent4>
      <a:accent5>
        <a:srgbClr val="BC007A"/>
      </a:accent5>
      <a:accent6>
        <a:srgbClr val="2C0152"/>
      </a:accent6>
      <a:hlink>
        <a:srgbClr val="2E77FA"/>
      </a:hlink>
      <a:folHlink>
        <a:srgbClr val="2E77FA"/>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custClrLst>
    <a:custClr name="Yellow-Orange">
      <a:srgbClr val="FF901E"/>
    </a:custClr>
    <a:custClr name="Bright Red">
      <a:srgbClr val="FF316E"/>
    </a:custClr>
    <a:custClr name="Plum">
      <a:srgbClr val="480046"/>
    </a:custClr>
    <a:custClr name="Blue">
      <a:srgbClr val="0019C8"/>
    </a:custClr>
    <a:custClr name="Sky Blue (hyperlink)">
      <a:srgbClr val="0061FF"/>
    </a:custClr>
  </a:custClrLst>
  <a:extLst>
    <a:ext uri="{05A4C25C-085E-4340-85A3-A5531E510DB2}">
      <thm15:themeFamily xmlns:thm15="http://schemas.microsoft.com/office/thememl/2012/main" name="Presentation8" id="{C1C046C8-FEEB-F544-8F0D-279D91C77DC6}" vid="{7507A532-FAD7-8D4B-8C53-D4B285E4155D}"/>
    </a:ext>
  </a:extLst>
</a:theme>
</file>

<file path=ppt/theme/theme4.xml><?xml version="1.0" encoding="utf-8"?>
<a:theme xmlns:a="http://schemas.openxmlformats.org/drawingml/2006/main" name="SES_PPT_Template_2018_16X9">
  <a:themeElements>
    <a:clrScheme name="Custom 7">
      <a:dk1>
        <a:srgbClr val="000000"/>
      </a:dk1>
      <a:lt1>
        <a:srgbClr val="FFFFFF"/>
      </a:lt1>
      <a:dk2>
        <a:srgbClr val="000000"/>
      </a:dk2>
      <a:lt2>
        <a:srgbClr val="001446"/>
      </a:lt2>
      <a:accent1>
        <a:srgbClr val="2490D8"/>
      </a:accent1>
      <a:accent2>
        <a:srgbClr val="004691"/>
      </a:accent2>
      <a:accent3>
        <a:srgbClr val="B40082"/>
      </a:accent3>
      <a:accent4>
        <a:srgbClr val="6E2D87"/>
      </a:accent4>
      <a:accent5>
        <a:srgbClr val="AFB9C3"/>
      </a:accent5>
      <a:accent6>
        <a:srgbClr val="505A64"/>
      </a:accent6>
      <a:hlink>
        <a:srgbClr val="2490D8"/>
      </a:hlink>
      <a:folHlink>
        <a:srgbClr val="2490D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0">
          <a:solidFill>
            <a:schemeClr val="accent3"/>
          </a:solidFill>
        </a:ln>
      </a:spPr>
      <a:bodyPr rot="0" spcFirstLastPara="0" vertOverflow="overflow" horzOverflow="overflow" vert="horz" wrap="square" lIns="108000" tIns="140400" rIns="108000" bIns="140400" numCol="1" spcCol="0" rtlCol="0" fromWordArt="0" anchor="ctr" anchorCtr="0" forceAA="0" compatLnSpc="1">
        <a:prstTxWarp prst="textNoShape">
          <a:avLst/>
        </a:prstTxWarp>
        <a:noAutofit/>
      </a:bodyPr>
      <a:lstStyle>
        <a:defPPr algn="ctr">
          <a:defRPr sz="1600" b="1" dirty="0" err="1" smtClean="0">
            <a:ln w="18000">
              <a:noFill/>
              <a:prstDash val="solid"/>
              <a:miter lim="800000"/>
            </a:ln>
            <a:effectLst/>
          </a:defRPr>
        </a:defPPr>
      </a:lst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bodyPr wrap="square" lIns="36000" tIns="18000" rIns="36000" bIns="18000" rtlCol="0">
        <a:spAutoFit/>
      </a:bodyPr>
      <a:lstStyle>
        <a:defPPr marL="252000" indent="-252000">
          <a:lnSpc>
            <a:spcPct val="110000"/>
          </a:lnSpc>
          <a:spcAft>
            <a:spcPts val="800"/>
          </a:spcAft>
          <a:buFont typeface="Wingdings 3" pitchFamily="18" charset="2"/>
          <a:buChar char=""/>
          <a:defRPr sz="14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7223D564-D977-4D18-A626-A34005A16AE4}" vid="{423F8A7E-7BE9-4B82-B70F-356066617488}"/>
    </a:ext>
  </a:extLst>
</a:theme>
</file>

<file path=ppt/theme/theme5.xml><?xml version="1.0" encoding="utf-8"?>
<a:theme xmlns:a="http://schemas.openxmlformats.org/drawingml/2006/main" name="Theme1">
  <a:themeElements>
    <a:clrScheme name="937EE4">
      <a:dk1>
        <a:srgbClr val="000000"/>
      </a:dk1>
      <a:lt1>
        <a:srgbClr val="FFFFFF"/>
      </a:lt1>
      <a:dk2>
        <a:srgbClr val="240747"/>
      </a:dk2>
      <a:lt2>
        <a:srgbClr val="E1E1E1"/>
      </a:lt2>
      <a:accent1>
        <a:srgbClr val="240747"/>
      </a:accent1>
      <a:accent2>
        <a:srgbClr val="30087B"/>
      </a:accent2>
      <a:accent3>
        <a:srgbClr val="5F4B9C"/>
      </a:accent3>
      <a:accent4>
        <a:srgbClr val="937EE3"/>
      </a:accent4>
      <a:accent5>
        <a:srgbClr val="DA5076"/>
      </a:accent5>
      <a:accent6>
        <a:srgbClr val="43D4D3"/>
      </a:accent6>
      <a:hlink>
        <a:srgbClr val="7F33DB"/>
      </a:hlink>
      <a:folHlink>
        <a:srgbClr val="43D3D3"/>
      </a:folHlink>
    </a:clrScheme>
    <a:fontScheme name="SES">
      <a:majorFont>
        <a:latin typeface="Aptos Light"/>
        <a:ea typeface=""/>
        <a:cs typeface=""/>
      </a:majorFont>
      <a:minorFont>
        <a:latin typeface="Aptos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accent2"/>
          </a:solidFill>
        </a:ln>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late">
      <a:srgbClr val="7F92CA"/>
    </a:custClr>
    <a:custClr name="Vivid Purple">
      <a:srgbClr val="7F33DB"/>
    </a:custClr>
    <a:custClr name="Fuchsia">
      <a:srgbClr val="AE3F9F"/>
    </a:custClr>
    <a:custClr name="Amaranth">
      <a:srgbClr val="DA5076"/>
    </a:custClr>
    <a:custClr name="Aqua">
      <a:srgbClr val="43D4D3"/>
    </a:custClr>
    <a:custClr name="Lime">
      <a:srgbClr val="88BC42"/>
    </a:custClr>
    <a:custClr name="Pineapple">
      <a:srgbClr val="E3DD61"/>
    </a:custClr>
    <a:custClr name="Beige">
      <a:srgbClr val="B8A181"/>
    </a:custClr>
    <a:custClr name="White">
      <a:srgbClr val="FFFFFF"/>
    </a:custClr>
    <a:custClr name="White">
      <a:srgbClr val="FFFFFF"/>
    </a:custClr>
    <a:custClr name="Slate 50%">
      <a:srgbClr val="C0C9E6"/>
    </a:custClr>
    <a:custClr name="Vivid Purple 50%">
      <a:srgbClr val="BD9FE9"/>
    </a:custClr>
    <a:custClr name="Fuchsia 50%">
      <a:srgbClr val="D0A5CD"/>
    </a:custClr>
    <a:custClr name="Amaranth 50%">
      <a:srgbClr val="E5AEBC"/>
    </a:custClr>
    <a:custClr name="Aqua 50%">
      <a:srgbClr val="B9E8E9"/>
    </a:custClr>
    <a:custClr name="Lime 50%">
      <a:srgbClr val="CADDAD"/>
    </a:custClr>
    <a:custClr name="Pineapple 50%">
      <a:srgbClr val="F1EEBB"/>
    </a:custClr>
    <a:custClr name="Beige 50%">
      <a:srgbClr val="DAD1C3"/>
    </a:custClr>
    <a:custClr name="White">
      <a:srgbClr val="FFFFFF"/>
    </a:custClr>
    <a:custClr name="White">
      <a:srgbClr val="FFFFFF"/>
    </a:custClr>
    <a:custClr name="Slate 35%">
      <a:srgbClr val="D4D9EA"/>
    </a:custClr>
    <a:custClr name="Vivid Purple 35%">
      <a:srgbClr val="D0BBEF"/>
    </a:custClr>
    <a:custClr name="Fuchsia 35%">
      <a:srgbClr val="DEC0DC"/>
    </a:custClr>
    <a:custClr name="Amaranth 35%">
      <a:srgbClr val="EDC6D0"/>
    </a:custClr>
    <a:custClr name="Aqua 35%">
      <a:srgbClr val="CEEFEE"/>
    </a:custClr>
    <a:custClr name="Lime 35%">
      <a:srgbClr val="D9E7C5"/>
    </a:custClr>
    <a:custClr name="Pineapple 35%">
      <a:srgbClr val="F5F3CF"/>
    </a:custClr>
    <a:custClr name="Beige 35%">
      <a:srgbClr val="E5DFD5"/>
    </a:custClr>
    <a:custClr name="White">
      <a:srgbClr val="FFFFFF"/>
    </a:custClr>
    <a:custClr name="White">
      <a:srgbClr val="FFFFFF"/>
    </a:custClr>
    <a:custClr name="Slate 25%">
      <a:srgbClr val="E1E4F1"/>
    </a:custClr>
    <a:custClr name="Vivid Purple 25%">
      <a:srgbClr val="DECFF4"/>
    </a:custClr>
    <a:custClr name="Fuchsia 25%">
      <a:srgbClr val="E8D3E7"/>
    </a:custClr>
    <a:custClr name="Amaranth 25%">
      <a:srgbClr val="F2D7DE"/>
    </a:custClr>
    <a:custClr name="Aqua 25%">
      <a:srgbClr val="DDF4F3"/>
    </a:custClr>
    <a:custClr name="Lime 25%">
      <a:srgbClr val="E4EED5"/>
    </a:custClr>
    <a:custClr name="Pineapple 25%">
      <a:srgbClr val="F8F6DC"/>
    </a:custClr>
    <a:custClr name="Beige 25%">
      <a:srgbClr val="EDE8E1"/>
    </a:custClr>
    <a:custClr name="White">
      <a:srgbClr val="FFFFFF"/>
    </a:custClr>
    <a:custClr name="White">
      <a:srgbClr val="FFFFFF"/>
    </a:custClr>
    <a:custClr name="Slate 10%">
      <a:srgbClr val="F2F4F8"/>
    </a:custClr>
    <a:custClr name="Vivid Purple 10%">
      <a:srgbClr val="F1ECFA"/>
    </a:custClr>
    <a:custClr name="Fuchsia 10%">
      <a:srgbClr val="F5EDF4"/>
    </a:custClr>
    <a:custClr name="Amaranth 10%">
      <a:srgbClr val="FAF0F2"/>
    </a:custClr>
    <a:custClr name="Aqua 10%">
      <a:srgbClr val="F1FAFB"/>
    </a:custClr>
    <a:custClr name="Lime 10%">
      <a:srgbClr val="F4F8EE"/>
    </a:custClr>
    <a:custClr name="Pineapple 10%">
      <a:srgbClr val="FCFCF2"/>
    </a:custClr>
    <a:custClr name="Beige 10%">
      <a:srgbClr val="F8F6F4"/>
    </a:custClr>
    <a:custClr name="White">
      <a:srgbClr val="FFFFFF"/>
    </a:custClr>
    <a:custClr name="White">
      <a:srgbClr val="FFFFFF"/>
    </a:custClr>
  </a:custClrLst>
  <a:extLst>
    <a:ext uri="{05A4C25C-085E-4340-85A3-A5531E510DB2}">
      <thm15:themeFamily xmlns:thm15="http://schemas.microsoft.com/office/thememl/2012/main" name="Theme1" id="{E2FED66D-A1CD-40A7-8C57-7931587D9F35}" vid="{022BF151-AD7D-4968-B7B8-08EFB5BCF2E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089</TotalTime>
  <Words>1134</Words>
  <Application>Microsoft Macintosh PowerPoint</Application>
  <PresentationFormat>Widescreen</PresentationFormat>
  <Paragraphs>132</Paragraphs>
  <Slides>12</Slides>
  <Notes>7</Notes>
  <HiddenSlides>0</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36" baseType="lpstr">
      <vt:lpstr>Amazon Ember</vt:lpstr>
      <vt:lpstr>Amazon Ember Display</vt:lpstr>
      <vt:lpstr>Amazon Ember Display Light</vt:lpstr>
      <vt:lpstr>Amazon Ember Heavy</vt:lpstr>
      <vt:lpstr>Amazon Ember Mono</vt:lpstr>
      <vt:lpstr>Aptos</vt:lpstr>
      <vt:lpstr>Aptos Light</vt:lpstr>
      <vt:lpstr>Aptos Regular</vt:lpstr>
      <vt:lpstr>Arial</vt:lpstr>
      <vt:lpstr>Arial Black</vt:lpstr>
      <vt:lpstr>Avenir</vt:lpstr>
      <vt:lpstr>Calibri</vt:lpstr>
      <vt:lpstr>Consolas</vt:lpstr>
      <vt:lpstr>Lucida Console</vt:lpstr>
      <vt:lpstr>System Font Regular</vt:lpstr>
      <vt:lpstr>Verdana</vt:lpstr>
      <vt:lpstr>Wingdings</vt:lpstr>
      <vt:lpstr>Wingdings 3</vt:lpstr>
      <vt:lpstr>4_AWS Brand Template_Dark</vt:lpstr>
      <vt:lpstr>AWS re:Invent</vt:lpstr>
      <vt:lpstr>1_AWS re:Invent</vt:lpstr>
      <vt:lpstr>SES_PPT_Template_2018_16X9</vt:lpstr>
      <vt:lpstr>Theme1</vt:lpstr>
      <vt:lpstr>think-cell Slide</vt:lpstr>
      <vt:lpstr>Agentic AI for SatCom </vt:lpstr>
      <vt:lpstr>PowerPoint Presentation</vt:lpstr>
      <vt:lpstr>PowerPoint Presentation</vt:lpstr>
      <vt:lpstr>PowerPoint Presentation</vt:lpstr>
      <vt:lpstr>The Evolution of the Workflow</vt:lpstr>
      <vt:lpstr>PowerPoint Presentation</vt:lpstr>
      <vt:lpstr>Your Space Partner </vt:lpstr>
      <vt:lpstr>Resilient &amp; Secure Global Communications</vt:lpstr>
      <vt:lpstr>Unlocking AI transformation with Virtualized Satcom</vt:lpstr>
      <vt:lpstr>Generative AI - IQ Constellation interference detection</vt:lpstr>
      <vt:lpstr>Future opportunities to leverage Agentic AI</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swold, Haidee</dc:creator>
  <cp:lastModifiedBy>O'Donnell, Kathy</cp:lastModifiedBy>
  <cp:revision>154</cp:revision>
  <dcterms:created xsi:type="dcterms:W3CDTF">2025-02-19T23:07:04Z</dcterms:created>
  <dcterms:modified xsi:type="dcterms:W3CDTF">2026-03-13T16:5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9eed6f-34eb-4453-9f97-09510b9b219f_Enabled">
    <vt:lpwstr>true</vt:lpwstr>
  </property>
  <property fmtid="{D5CDD505-2E9C-101B-9397-08002B2CF9AE}" pid="3" name="MSIP_Label_929eed6f-34eb-4453-9f97-09510b9b219f_SetDate">
    <vt:lpwstr>2025-06-16T11:39:34Z</vt:lpwstr>
  </property>
  <property fmtid="{D5CDD505-2E9C-101B-9397-08002B2CF9AE}" pid="4" name="MSIP_Label_929eed6f-34eb-4453-9f97-09510b9b219f_Method">
    <vt:lpwstr>Standard</vt:lpwstr>
  </property>
  <property fmtid="{D5CDD505-2E9C-101B-9397-08002B2CF9AE}" pid="5" name="MSIP_Label_929eed6f-34eb-4453-9f97-09510b9b219f_Name">
    <vt:lpwstr>Amazon Pending_Classification</vt:lpwstr>
  </property>
  <property fmtid="{D5CDD505-2E9C-101B-9397-08002B2CF9AE}" pid="6" name="MSIP_Label_929eed6f-34eb-4453-9f97-09510b9b219f_SiteId">
    <vt:lpwstr>5280104a-472d-4538-9ccf-1e1d0efe8b1b</vt:lpwstr>
  </property>
  <property fmtid="{D5CDD505-2E9C-101B-9397-08002B2CF9AE}" pid="7" name="MSIP_Label_929eed6f-34eb-4453-9f97-09510b9b219f_ActionId">
    <vt:lpwstr>0972691c-39d0-428d-873d-dbdb69e175c1</vt:lpwstr>
  </property>
  <property fmtid="{D5CDD505-2E9C-101B-9397-08002B2CF9AE}" pid="8" name="MSIP_Label_929eed6f-34eb-4453-9f97-09510b9b219f_ContentBits">
    <vt:lpwstr>0</vt:lpwstr>
  </property>
  <property fmtid="{D5CDD505-2E9C-101B-9397-08002B2CF9AE}" pid="9" name="MSIP_Label_929eed6f-34eb-4453-9f97-09510b9b219f_Tag">
    <vt:lpwstr>50, 3, 0, 1</vt:lpwstr>
  </property>
</Properties>
</file>